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7" r:id="rId1"/>
  </p:sldMasterIdLst>
  <p:notesMasterIdLst>
    <p:notesMasterId r:id="rId16"/>
  </p:notesMasterIdLst>
  <p:handoutMasterIdLst>
    <p:handoutMasterId r:id="rId17"/>
  </p:handoutMasterIdLst>
  <p:sldIdLst>
    <p:sldId id="258" r:id="rId2"/>
    <p:sldId id="259" r:id="rId3"/>
    <p:sldId id="260" r:id="rId4"/>
    <p:sldId id="261" r:id="rId5"/>
    <p:sldId id="276" r:id="rId6"/>
    <p:sldId id="265" r:id="rId7"/>
    <p:sldId id="274" r:id="rId8"/>
    <p:sldId id="263" r:id="rId9"/>
    <p:sldId id="264" r:id="rId10"/>
    <p:sldId id="266" r:id="rId11"/>
    <p:sldId id="277" r:id="rId12"/>
    <p:sldId id="278" r:id="rId13"/>
    <p:sldId id="271" r:id="rId14"/>
    <p:sldId id="273" r:id="rId15"/>
  </p:sldIdLst>
  <p:sldSz cx="12192000" cy="6858000"/>
  <p:notesSz cx="7315200" cy="96012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guide id="3" orient="horz" pos="346" userDrawn="1">
          <p15:clr>
            <a:srgbClr val="A4A3A4"/>
          </p15:clr>
        </p15:guide>
        <p15:guide id="4" orient="horz" pos="3974" userDrawn="1">
          <p15:clr>
            <a:srgbClr val="A4A3A4"/>
          </p15:clr>
        </p15:guide>
        <p15:guide id="5" pos="325" userDrawn="1">
          <p15:clr>
            <a:srgbClr val="A4A3A4"/>
          </p15:clr>
        </p15:guide>
        <p15:guide id="6" pos="735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AAE5"/>
    <a:srgbClr val="E52854"/>
    <a:srgbClr val="FC671C"/>
    <a:srgbClr val="CA1842"/>
    <a:srgbClr val="FD99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D97129-6166-45EB-BA9E-2CEE3A3D5167}" v="4" dt="2022-06-27T06:39:27.61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5" autoAdjust="0"/>
    <p:restoredTop sz="93001" autoAdjust="0"/>
  </p:normalViewPr>
  <p:slideViewPr>
    <p:cSldViewPr snapToGrid="0" showGuides="1">
      <p:cViewPr varScale="1">
        <p:scale>
          <a:sx n="82" d="100"/>
          <a:sy n="82" d="100"/>
        </p:scale>
        <p:origin x="581" y="72"/>
      </p:cViewPr>
      <p:guideLst>
        <p:guide orient="horz" pos="2183"/>
        <p:guide pos="3840"/>
        <p:guide orient="horz" pos="346"/>
        <p:guide orient="horz" pos="3974"/>
        <p:guide pos="325"/>
        <p:guide pos="7355"/>
      </p:guideLst>
    </p:cSldViewPr>
  </p:slideViewPr>
  <p:notesTextViewPr>
    <p:cViewPr>
      <p:scale>
        <a:sx n="1" d="1"/>
        <a:sy n="1" d="1"/>
      </p:scale>
      <p:origin x="0" y="0"/>
    </p:cViewPr>
  </p:notesTextViewPr>
  <p:notesViewPr>
    <p:cSldViewPr snapToGrid="0">
      <p:cViewPr varScale="1">
        <p:scale>
          <a:sx n="47" d="100"/>
          <a:sy n="47" d="100"/>
        </p:scale>
        <p:origin x="1928"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hil Sahni" userId="310e1cd180575a11" providerId="LiveId" clId="{D290F20E-509A-48C6-A3B6-069823DA4D43}"/>
    <pc:docChg chg="undo redo custSel modSld modNotesMaster modHandout">
      <pc:chgData name="Sahil Sahni" userId="310e1cd180575a11" providerId="LiveId" clId="{D290F20E-509A-48C6-A3B6-069823DA4D43}" dt="2021-06-09T07:30:15.283" v="175" actId="14100"/>
      <pc:docMkLst>
        <pc:docMk/>
      </pc:docMkLst>
      <pc:sldChg chg="addSp delSp modSp mod">
        <pc:chgData name="Sahil Sahni" userId="310e1cd180575a11" providerId="LiveId" clId="{D290F20E-509A-48C6-A3B6-069823DA4D43}" dt="2021-06-09T07:30:15.283" v="175" actId="14100"/>
        <pc:sldMkLst>
          <pc:docMk/>
          <pc:sldMk cId="3726363623" sldId="258"/>
        </pc:sldMkLst>
        <pc:spChg chg="mod">
          <ac:chgData name="Sahil Sahni" userId="310e1cd180575a11" providerId="LiveId" clId="{D290F20E-509A-48C6-A3B6-069823DA4D43}" dt="2021-06-09T07:15:45.028" v="4" actId="20577"/>
          <ac:spMkLst>
            <pc:docMk/>
            <pc:sldMk cId="3726363623" sldId="258"/>
            <ac:spMk id="8" creationId="{185B3BFD-629A-4AD4-8D94-93E0AB3AEB60}"/>
          </ac:spMkLst>
        </pc:spChg>
        <pc:spChg chg="mod">
          <ac:chgData name="Sahil Sahni" userId="310e1cd180575a11" providerId="LiveId" clId="{D290F20E-509A-48C6-A3B6-069823DA4D43}" dt="2021-06-09T07:29:48.464" v="171" actId="1037"/>
          <ac:spMkLst>
            <pc:docMk/>
            <pc:sldMk cId="3726363623" sldId="258"/>
            <ac:spMk id="9" creationId="{93245066-7708-4164-926C-0F06B65E82A2}"/>
          </ac:spMkLst>
        </pc:spChg>
        <pc:picChg chg="add del mod">
          <ac:chgData name="Sahil Sahni" userId="310e1cd180575a11" providerId="LiveId" clId="{D290F20E-509A-48C6-A3B6-069823DA4D43}" dt="2021-06-09T07:30:15.283" v="175" actId="14100"/>
          <ac:picMkLst>
            <pc:docMk/>
            <pc:sldMk cId="3726363623" sldId="258"/>
            <ac:picMk id="4" creationId="{771C8CCF-DABE-4C8F-8ACE-2F140369EB07}"/>
          </ac:picMkLst>
        </pc:picChg>
      </pc:sldChg>
      <pc:sldChg chg="modSp mod">
        <pc:chgData name="Sahil Sahni" userId="310e1cd180575a11" providerId="LiveId" clId="{D290F20E-509A-48C6-A3B6-069823DA4D43}" dt="2021-06-09T07:21:32.418" v="137" actId="1076"/>
        <pc:sldMkLst>
          <pc:docMk/>
          <pc:sldMk cId="2693393590" sldId="266"/>
        </pc:sldMkLst>
        <pc:picChg chg="mod">
          <ac:chgData name="Sahil Sahni" userId="310e1cd180575a11" providerId="LiveId" clId="{D290F20E-509A-48C6-A3B6-069823DA4D43}" dt="2021-06-09T07:21:22.679" v="106" actId="1038"/>
          <ac:picMkLst>
            <pc:docMk/>
            <pc:sldMk cId="2693393590" sldId="266"/>
            <ac:picMk id="10" creationId="{2F17E620-8560-47CC-BD7C-D7F3A444CCBC}"/>
          </ac:picMkLst>
        </pc:picChg>
        <pc:picChg chg="mod">
          <ac:chgData name="Sahil Sahni" userId="310e1cd180575a11" providerId="LiveId" clId="{D290F20E-509A-48C6-A3B6-069823DA4D43}" dt="2021-06-09T07:20:44.531" v="5" actId="1076"/>
          <ac:picMkLst>
            <pc:docMk/>
            <pc:sldMk cId="2693393590" sldId="266"/>
            <ac:picMk id="14" creationId="{91C601AE-C255-4109-81E2-453388349B43}"/>
          </ac:picMkLst>
        </pc:picChg>
        <pc:picChg chg="mod">
          <ac:chgData name="Sahil Sahni" userId="310e1cd180575a11" providerId="LiveId" clId="{D290F20E-509A-48C6-A3B6-069823DA4D43}" dt="2021-06-09T07:21:27.381" v="123" actId="1038"/>
          <ac:picMkLst>
            <pc:docMk/>
            <pc:sldMk cId="2693393590" sldId="266"/>
            <ac:picMk id="16" creationId="{3347E1A7-5CC2-4352-807D-C5850172F07F}"/>
          </ac:picMkLst>
        </pc:picChg>
        <pc:picChg chg="mod">
          <ac:chgData name="Sahil Sahni" userId="310e1cd180575a11" providerId="LiveId" clId="{D290F20E-509A-48C6-A3B6-069823DA4D43}" dt="2021-06-09T07:20:56.411" v="29" actId="1038"/>
          <ac:picMkLst>
            <pc:docMk/>
            <pc:sldMk cId="2693393590" sldId="266"/>
            <ac:picMk id="18" creationId="{6A1A0EE8-3129-4115-B1AB-E08BA40F6B35}"/>
          </ac:picMkLst>
        </pc:picChg>
        <pc:picChg chg="mod">
          <ac:chgData name="Sahil Sahni" userId="310e1cd180575a11" providerId="LiveId" clId="{D290F20E-509A-48C6-A3B6-069823DA4D43}" dt="2021-06-09T07:20:59.385" v="45" actId="1038"/>
          <ac:picMkLst>
            <pc:docMk/>
            <pc:sldMk cId="2693393590" sldId="266"/>
            <ac:picMk id="19" creationId="{41D7A30D-9F9E-42A9-ABA4-EBE19F2D2B20}"/>
          </ac:picMkLst>
        </pc:picChg>
        <pc:picChg chg="mod">
          <ac:chgData name="Sahil Sahni" userId="310e1cd180575a11" providerId="LiveId" clId="{D290F20E-509A-48C6-A3B6-069823DA4D43}" dt="2021-06-09T07:21:32.418" v="137" actId="1076"/>
          <ac:picMkLst>
            <pc:docMk/>
            <pc:sldMk cId="2693393590" sldId="266"/>
            <ac:picMk id="24" creationId="{5B6ADDA6-27C5-4760-B6D6-F3E5A15B1FC2}"/>
          </ac:picMkLst>
        </pc:picChg>
        <pc:picChg chg="mod">
          <ac:chgData name="Sahil Sahni" userId="310e1cd180575a11" providerId="LiveId" clId="{D290F20E-509A-48C6-A3B6-069823DA4D43}" dt="2021-06-09T07:20:53.621" v="17" actId="1038"/>
          <ac:picMkLst>
            <pc:docMk/>
            <pc:sldMk cId="2693393590" sldId="266"/>
            <ac:picMk id="30" creationId="{0758CC77-773A-4861-807E-C782490C5E4C}"/>
          </ac:picMkLst>
        </pc:picChg>
        <pc:picChg chg="mod">
          <ac:chgData name="Sahil Sahni" userId="310e1cd180575a11" providerId="LiveId" clId="{D290F20E-509A-48C6-A3B6-069823DA4D43}" dt="2021-06-09T07:20:49.777" v="6" actId="1076"/>
          <ac:picMkLst>
            <pc:docMk/>
            <pc:sldMk cId="2693393590" sldId="266"/>
            <ac:picMk id="34" creationId="{913E35A5-3519-4C4A-AF6A-415C2992CF81}"/>
          </ac:picMkLst>
        </pc:picChg>
        <pc:picChg chg="mod">
          <ac:chgData name="Sahil Sahni" userId="310e1cd180575a11" providerId="LiveId" clId="{D290F20E-509A-48C6-A3B6-069823DA4D43}" dt="2021-06-09T07:21:30.391" v="136" actId="1038"/>
          <ac:picMkLst>
            <pc:docMk/>
            <pc:sldMk cId="2693393590" sldId="266"/>
            <ac:picMk id="38" creationId="{8477B682-F918-461A-9A1A-ECC9B2937279}"/>
          </ac:picMkLst>
        </pc:picChg>
        <pc:picChg chg="mod">
          <ac:chgData name="Sahil Sahni" userId="310e1cd180575a11" providerId="LiveId" clId="{D290F20E-509A-48C6-A3B6-069823DA4D43}" dt="2021-06-09T07:21:07.911" v="86" actId="1036"/>
          <ac:picMkLst>
            <pc:docMk/>
            <pc:sldMk cId="2693393590" sldId="266"/>
            <ac:picMk id="44" creationId="{2C51D91A-66AE-42DC-AA42-33C75A2E812C}"/>
          </ac:picMkLst>
        </pc:picChg>
        <pc:picChg chg="mod">
          <ac:chgData name="Sahil Sahni" userId="310e1cd180575a11" providerId="LiveId" clId="{D290F20E-509A-48C6-A3B6-069823DA4D43}" dt="2021-06-09T07:21:15.980" v="100" actId="1038"/>
          <ac:picMkLst>
            <pc:docMk/>
            <pc:sldMk cId="2693393590" sldId="266"/>
            <ac:picMk id="46" creationId="{2CEBEA09-5F26-406C-B997-28B123B24647}"/>
          </ac:picMkLst>
        </pc:picChg>
        <pc:picChg chg="mod">
          <ac:chgData name="Sahil Sahni" userId="310e1cd180575a11" providerId="LiveId" clId="{D290F20E-509A-48C6-A3B6-069823DA4D43}" dt="2021-06-09T07:21:02.387" v="64" actId="1038"/>
          <ac:picMkLst>
            <pc:docMk/>
            <pc:sldMk cId="2693393590" sldId="266"/>
            <ac:picMk id="58" creationId="{B4E1F8D3-43AF-46DB-9570-5AE62AC0D502}"/>
          </ac:picMkLst>
        </pc:picChg>
      </pc:sldChg>
      <pc:sldChg chg="modSp mod">
        <pc:chgData name="Sahil Sahni" userId="310e1cd180575a11" providerId="LiveId" clId="{D290F20E-509A-48C6-A3B6-069823DA4D43}" dt="2021-06-09T07:29:46.784" v="170" actId="6549"/>
        <pc:sldMkLst>
          <pc:docMk/>
          <pc:sldMk cId="1982076032" sldId="271"/>
        </pc:sldMkLst>
        <pc:spChg chg="mod">
          <ac:chgData name="Sahil Sahni" userId="310e1cd180575a11" providerId="LiveId" clId="{D290F20E-509A-48C6-A3B6-069823DA4D43}" dt="2021-06-09T07:29:46.784" v="170" actId="6549"/>
          <ac:spMkLst>
            <pc:docMk/>
            <pc:sldMk cId="1982076032" sldId="271"/>
            <ac:spMk id="7" creationId="{00000000-0000-0000-0000-000000000000}"/>
          </ac:spMkLst>
        </pc:spChg>
        <pc:picChg chg="mod">
          <ac:chgData name="Sahil Sahni" userId="310e1cd180575a11" providerId="LiveId" clId="{D290F20E-509A-48C6-A3B6-069823DA4D43}" dt="2021-06-09T06:35:06.810" v="0" actId="1076"/>
          <ac:picMkLst>
            <pc:docMk/>
            <pc:sldMk cId="1982076032" sldId="271"/>
            <ac:picMk id="9" creationId="{B185D4A6-33C2-421A-9F45-1569DD3EDE46}"/>
          </ac:picMkLst>
        </pc:picChg>
      </pc:sldChg>
    </pc:docChg>
  </pc:docChgLst>
  <pc:docChgLst>
    <pc:chgData name="Sahil Sahni" userId="310e1cd180575a11" providerId="LiveId" clId="{0DD97129-6166-45EB-BA9E-2CEE3A3D5167}"/>
    <pc:docChg chg="custSel modSld">
      <pc:chgData name="Sahil Sahni" userId="310e1cd180575a11" providerId="LiveId" clId="{0DD97129-6166-45EB-BA9E-2CEE3A3D5167}" dt="2022-06-27T06:40:02.803" v="65" actId="114"/>
      <pc:docMkLst>
        <pc:docMk/>
      </pc:docMkLst>
      <pc:sldChg chg="addSp modSp mod">
        <pc:chgData name="Sahil Sahni" userId="310e1cd180575a11" providerId="LiveId" clId="{0DD97129-6166-45EB-BA9E-2CEE3A3D5167}" dt="2022-06-27T06:40:02.803" v="65" actId="114"/>
        <pc:sldMkLst>
          <pc:docMk/>
          <pc:sldMk cId="3669088176" sldId="263"/>
        </pc:sldMkLst>
        <pc:spChg chg="add mod">
          <ac:chgData name="Sahil Sahni" userId="310e1cd180575a11" providerId="LiveId" clId="{0DD97129-6166-45EB-BA9E-2CEE3A3D5167}" dt="2022-06-27T06:39:15.726" v="35" actId="14100"/>
          <ac:spMkLst>
            <pc:docMk/>
            <pc:sldMk cId="3669088176" sldId="263"/>
            <ac:spMk id="6" creationId="{08A1ECD3-23BA-2B35-D464-313EF543B95E}"/>
          </ac:spMkLst>
        </pc:spChg>
        <pc:spChg chg="add mod">
          <ac:chgData name="Sahil Sahni" userId="310e1cd180575a11" providerId="LiveId" clId="{0DD97129-6166-45EB-BA9E-2CEE3A3D5167}" dt="2022-06-27T06:40:02.803" v="65" actId="114"/>
          <ac:spMkLst>
            <pc:docMk/>
            <pc:sldMk cId="3669088176" sldId="263"/>
            <ac:spMk id="22" creationId="{43677A88-8D4A-8EAA-FBE7-74089BEA5105}"/>
          </ac:spMkLst>
        </pc:spChg>
        <pc:picChg chg="add mod">
          <ac:chgData name="Sahil Sahni" userId="310e1cd180575a11" providerId="LiveId" clId="{0DD97129-6166-45EB-BA9E-2CEE3A3D5167}" dt="2022-06-27T06:37:55.762" v="4" actId="1076"/>
          <ac:picMkLst>
            <pc:docMk/>
            <pc:sldMk cId="3669088176" sldId="263"/>
            <ac:picMk id="55" creationId="{1EF23288-E6BE-1332-98D3-5E43DA7C23A8}"/>
          </ac:picMkLst>
        </pc:picChg>
      </pc:sldChg>
      <pc:sldChg chg="addSp delSp modSp mod">
        <pc:chgData name="Sahil Sahni" userId="310e1cd180575a11" providerId="LiveId" clId="{0DD97129-6166-45EB-BA9E-2CEE3A3D5167}" dt="2022-06-24T05:55:52.042" v="2" actId="478"/>
        <pc:sldMkLst>
          <pc:docMk/>
          <pc:sldMk cId="3356706464" sldId="274"/>
        </pc:sldMkLst>
        <pc:picChg chg="add del mod">
          <ac:chgData name="Sahil Sahni" userId="310e1cd180575a11" providerId="LiveId" clId="{0DD97129-6166-45EB-BA9E-2CEE3A3D5167}" dt="2022-06-24T05:55:52.042" v="2" actId="478"/>
          <ac:picMkLst>
            <pc:docMk/>
            <pc:sldMk cId="3356706464" sldId="274"/>
            <ac:picMk id="35" creationId="{6B5CDB2C-DA70-1F99-637C-44ED8738A45E}"/>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2CBB-4C41-86D8-A42BE398C931}"/>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2CBB-4C41-86D8-A42BE398C931}"/>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2CBB-4C41-86D8-A42BE398C931}"/>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2CBB-4C41-86D8-A42BE398C931}"/>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2CBB-4C41-86D8-A42BE398C931}"/>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2CBB-4C41-86D8-A42BE398C931}"/>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2CBB-4C41-86D8-A42BE398C931}"/>
              </c:ext>
            </c:extLst>
          </c:dPt>
          <c:dLbls>
            <c:dLbl>
              <c:idx val="0"/>
              <c:layout>
                <c:manualLayout>
                  <c:x val="0.11915516956988215"/>
                  <c:y val="2.8664289261048165E-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fld id="{C2AD0D16-0A4F-4ACB-AF38-F44F953A14AB}" type="CATEGORYNAME">
                      <a:rPr lang="en-US"/>
                      <a:pPr>
                        <a:defRPr sz="1400"/>
                      </a:pPr>
                      <a:t>[CATEGORY NAME]</a:t>
                    </a:fld>
                    <a:r>
                      <a:rPr lang="en-US" baseline="0" dirty="0"/>
                      <a:t>
</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CBB-4C41-86D8-A42BE398C931}"/>
                </c:ext>
              </c:extLst>
            </c:dLbl>
            <c:dLbl>
              <c:idx val="1"/>
              <c:layout>
                <c:manualLayout>
                  <c:x val="1.9218575737077637E-2"/>
                  <c:y val="0.1074910847289306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fld id="{E1C6B4DC-80F9-41CB-924F-2B57002187BB}" type="CATEGORYNAME">
                      <a:rPr lang="en-US"/>
                      <a:pPr>
                        <a:defRPr sz="1400">
                          <a:solidFill>
                            <a:schemeClr val="accent1"/>
                          </a:solidFill>
                        </a:defRPr>
                      </a:pPr>
                      <a:t>[CATEGORY NAME]</a:t>
                    </a:fld>
                    <a:r>
                      <a:rPr lang="en-US" baseline="0"/>
                      <a:t>
</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CBB-4C41-86D8-A42BE398C931}"/>
                </c:ext>
              </c:extLst>
            </c:dLbl>
            <c:dLbl>
              <c:idx val="2"/>
              <c:layout>
                <c:manualLayout>
                  <c:x val="9.6092878685388895E-3"/>
                  <c:y val="7.1660723152620412E-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fld id="{18D3D3C5-C6BC-4533-82FA-03BD8391218A}" type="CATEGORYNAME">
                      <a:rPr lang="en-US"/>
                      <a:pPr>
                        <a:defRPr sz="1400">
                          <a:solidFill>
                            <a:schemeClr val="accent1"/>
                          </a:solidFill>
                        </a:defRPr>
                      </a:pPr>
                      <a:t>[CATEGORY NAME]</a:t>
                    </a:fld>
                    <a:r>
                      <a:rPr lang="en-US" baseline="0"/>
                      <a:t>
</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2CBB-4C41-86D8-A42BE398C931}"/>
                </c:ext>
              </c:extLst>
            </c:dLbl>
            <c:dLbl>
              <c:idx val="3"/>
              <c:layout>
                <c:manualLayout>
                  <c:x val="-5.1890078826425996E-2"/>
                  <c:y val="-3.5830361576310206E-3"/>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fld id="{68672281-65DC-4ADD-8789-3FA4CE06FF97}" type="CATEGORYNAME">
                      <a:rPr lang="en-US"/>
                      <a:pPr>
                        <a:defRPr sz="1400">
                          <a:solidFill>
                            <a:schemeClr val="accent1"/>
                          </a:solidFill>
                        </a:defRPr>
                      </a:pPr>
                      <a:t>[CATEGORY NAME]</a:t>
                    </a:fld>
                    <a:r>
                      <a:rPr lang="en-US" baseline="0"/>
                      <a:t>
</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9.7707239047303399E-2"/>
                      <c:h val="0.13321728434072136"/>
                    </c:manualLayout>
                  </c15:layout>
                  <c15:dlblFieldTable/>
                  <c15:showDataLabelsRange val="0"/>
                </c:ext>
                <c:ext xmlns:c16="http://schemas.microsoft.com/office/drawing/2014/chart" uri="{C3380CC4-5D6E-409C-BE32-E72D297353CC}">
                  <c16:uniqueId val="{00000007-2CBB-4C41-86D8-A42BE398C931}"/>
                </c:ext>
              </c:extLst>
            </c:dLbl>
            <c:dLbl>
              <c:idx val="4"/>
              <c:layout>
                <c:manualLayout>
                  <c:x val="-4.8046439342694446E-2"/>
                  <c:y val="1.0749108472892996E-2"/>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fld id="{4D4807CD-2E46-4157-BC7E-085D5D67E27A}" type="CATEGORYNAME">
                      <a:rPr lang="en-US"/>
                      <a:pPr>
                        <a:defRPr sz="1400">
                          <a:solidFill>
                            <a:schemeClr val="accent1"/>
                          </a:solidFill>
                        </a:defRPr>
                      </a:pPr>
                      <a:t>[CATEGORY NAME]</a:t>
                    </a:fld>
                    <a:r>
                      <a:rPr lang="en-US" baseline="0"/>
                      <a:t>
</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2CBB-4C41-86D8-A42BE398C931}"/>
                </c:ext>
              </c:extLst>
            </c:dLbl>
            <c:dLbl>
              <c:idx val="5"/>
              <c:layout>
                <c:manualLayout>
                  <c:x val="-5.9577584784941108E-2"/>
                  <c:y val="0.10032501241366858"/>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fld id="{08FE26A0-8B71-4991-A2D6-5B58C523B965}" type="CATEGORYNAME">
                      <a:rPr lang="en-US"/>
                      <a:pPr>
                        <a:defRPr sz="1400">
                          <a:solidFill>
                            <a:schemeClr val="accent1"/>
                          </a:solidFill>
                        </a:defRPr>
                      </a:pPr>
                      <a:t>[CATEGORY NAME]</a:t>
                    </a:fld>
                    <a:r>
                      <a:rPr lang="en-US" baseline="0"/>
                      <a:t>
</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2CBB-4C41-86D8-A42BE398C931}"/>
                </c:ext>
              </c:extLst>
            </c:dLbl>
            <c:dLbl>
              <c:idx val="6"/>
              <c:layout>
                <c:manualLayout>
                  <c:x val="-5.7655727211233333E-2"/>
                  <c:y val="0"/>
                </c:manualLayout>
              </c:layout>
              <c:tx>
                <c:rich>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fld id="{46A3C00C-B8BA-4994-9454-50B2ADCC3B7B}" type="CATEGORYNAME">
                      <a:rPr lang="en-US"/>
                      <a:pPr>
                        <a:defRPr sz="1400">
                          <a:solidFill>
                            <a:schemeClr val="accent1"/>
                          </a:solidFill>
                        </a:defRPr>
                      </a:pPr>
                      <a:t>[CATEGORY NAME]</a:t>
                    </a:fld>
                    <a:r>
                      <a:rPr lang="en-US" baseline="0" dirty="0"/>
                      <a:t>
</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2CBB-4C41-86D8-A42BE398C93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A$7</c:f>
              <c:strCache>
                <c:ptCount val="7"/>
                <c:pt idx="0">
                  <c:v>Oil &amp; Gas</c:v>
                </c:pt>
                <c:pt idx="1">
                  <c:v>Chemical Plant</c:v>
                </c:pt>
                <c:pt idx="2">
                  <c:v>Breweries</c:v>
                </c:pt>
                <c:pt idx="3">
                  <c:v>Dairy</c:v>
                </c:pt>
                <c:pt idx="4">
                  <c:v>FMCG</c:v>
                </c:pt>
                <c:pt idx="5">
                  <c:v>Pharmaceutical</c:v>
                </c:pt>
                <c:pt idx="6">
                  <c:v>Automobile</c:v>
                </c:pt>
              </c:strCache>
            </c:strRef>
          </c:cat>
          <c:val>
            <c:numRef>
              <c:f>Sheet1!$B$1:$B$7</c:f>
              <c:numCache>
                <c:formatCode>General</c:formatCode>
                <c:ptCount val="7"/>
                <c:pt idx="0">
                  <c:v>2</c:v>
                </c:pt>
                <c:pt idx="1">
                  <c:v>18</c:v>
                </c:pt>
                <c:pt idx="2">
                  <c:v>21</c:v>
                </c:pt>
                <c:pt idx="3">
                  <c:v>25</c:v>
                </c:pt>
                <c:pt idx="4">
                  <c:v>23</c:v>
                </c:pt>
                <c:pt idx="5">
                  <c:v>12</c:v>
                </c:pt>
                <c:pt idx="6">
                  <c:v>1</c:v>
                </c:pt>
              </c:numCache>
            </c:numRef>
          </c:val>
          <c:extLst>
            <c:ext xmlns:c16="http://schemas.microsoft.com/office/drawing/2014/chart" uri="{C3380CC4-5D6E-409C-BE32-E72D297353CC}">
              <c16:uniqueId val="{0000000E-2CBB-4C41-86D8-A42BE398C931}"/>
            </c:ext>
          </c:extLst>
        </c:ser>
        <c:dLbls>
          <c:dLblPos val="outEnd"/>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46C25E5-9434-4146-873A-74D4D7E2EBD7}"/>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IN"/>
          </a:p>
        </p:txBody>
      </p:sp>
      <p:sp>
        <p:nvSpPr>
          <p:cNvPr id="3" name="Date Placeholder 2">
            <a:extLst>
              <a:ext uri="{FF2B5EF4-FFF2-40B4-BE49-F238E27FC236}">
                <a16:creationId xmlns:a16="http://schemas.microsoft.com/office/drawing/2014/main" id="{BFE91C75-6EAF-49C0-AAD5-15C2B055BE39}"/>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9311503E-F2D2-4FE9-80DA-8A6544243A9B}" type="datetimeFigureOut">
              <a:rPr lang="en-IN" smtClean="0"/>
              <a:t>24-06-2022</a:t>
            </a:fld>
            <a:endParaRPr lang="en-IN"/>
          </a:p>
        </p:txBody>
      </p:sp>
      <p:sp>
        <p:nvSpPr>
          <p:cNvPr id="4" name="Footer Placeholder 3">
            <a:extLst>
              <a:ext uri="{FF2B5EF4-FFF2-40B4-BE49-F238E27FC236}">
                <a16:creationId xmlns:a16="http://schemas.microsoft.com/office/drawing/2014/main" id="{9CCC85FF-2733-49B1-8582-45DC85EA5B1E}"/>
              </a:ext>
            </a:extLst>
          </p:cNvPr>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a:extLst>
              <a:ext uri="{FF2B5EF4-FFF2-40B4-BE49-F238E27FC236}">
                <a16:creationId xmlns:a16="http://schemas.microsoft.com/office/drawing/2014/main" id="{88BAAB51-392D-43A4-A22E-219F5B2A4300}"/>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1E930824-1BFF-4B49-820E-520B256C92C7}" type="slidenum">
              <a:rPr lang="en-IN" smtClean="0"/>
              <a:t>‹#›</a:t>
            </a:fld>
            <a:endParaRPr lang="en-IN"/>
          </a:p>
        </p:txBody>
      </p:sp>
    </p:spTree>
    <p:extLst>
      <p:ext uri="{BB962C8B-B14F-4D97-AF65-F5344CB8AC3E}">
        <p14:creationId xmlns:p14="http://schemas.microsoft.com/office/powerpoint/2010/main" val="3700635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06134824-5B34-4C78-A3D3-CFCF2F0C9C9A}" type="datetimeFigureOut">
              <a:rPr lang="en-US" smtClean="0"/>
              <a:t>6/24/2022</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E31E2CEA-5494-4E49-8F6C-413506539E59}" type="slidenum">
              <a:rPr lang="en-US" smtClean="0"/>
              <a:t>‹#›</a:t>
            </a:fld>
            <a:endParaRPr lang="en-US"/>
          </a:p>
        </p:txBody>
      </p:sp>
    </p:spTree>
    <p:extLst>
      <p:ext uri="{BB962C8B-B14F-4D97-AF65-F5344CB8AC3E}">
        <p14:creationId xmlns:p14="http://schemas.microsoft.com/office/powerpoint/2010/main" val="9518344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31E2CEA-5494-4E49-8F6C-413506539E59}" type="slidenum">
              <a:rPr lang="en-US" smtClean="0"/>
              <a:t>1</a:t>
            </a:fld>
            <a:endParaRPr lang="en-US"/>
          </a:p>
        </p:txBody>
      </p:sp>
    </p:spTree>
    <p:extLst>
      <p:ext uri="{BB962C8B-B14F-4D97-AF65-F5344CB8AC3E}">
        <p14:creationId xmlns:p14="http://schemas.microsoft.com/office/powerpoint/2010/main" val="22162336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grayscl/>
            <a:extLst>
              <a:ext uri="{28A0092B-C50C-407E-A947-70E740481C1C}">
                <a14:useLocalDpi xmlns:a14="http://schemas.microsoft.com/office/drawing/2010/main" val="0"/>
              </a:ext>
            </a:extLst>
          </a:blip>
          <a:srcRect t="7812" b="8081"/>
          <a:stretch/>
        </p:blipFill>
        <p:spPr>
          <a:xfrm>
            <a:off x="0" y="10886"/>
            <a:ext cx="12192000" cy="6836229"/>
          </a:xfrm>
          <a:prstGeom prst="rect">
            <a:avLst/>
          </a:prstGeom>
        </p:spPr>
      </p:pic>
      <p:sp>
        <p:nvSpPr>
          <p:cNvPr id="5" name="Rectangle 4"/>
          <p:cNvSpPr/>
          <p:nvPr userDrawn="1"/>
        </p:nvSpPr>
        <p:spPr>
          <a:xfrm>
            <a:off x="0" y="0"/>
            <a:ext cx="12192000"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p:cNvSpPr/>
          <p:nvPr/>
        </p:nvSpPr>
        <p:spPr>
          <a:xfrm>
            <a:off x="0" y="0"/>
            <a:ext cx="12192000" cy="6858000"/>
          </a:xfrm>
          <a:prstGeom prst="rect">
            <a:avLst/>
          </a:prstGeom>
          <a:gradFill>
            <a:gsLst>
              <a:gs pos="1000">
                <a:schemeClr val="tx2">
                  <a:alpha val="85000"/>
                </a:schemeClr>
              </a:gs>
              <a:gs pos="100000">
                <a:schemeClr val="bg2">
                  <a:alpha val="8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0983520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2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406703"/>
            <a:ext cx="12192000" cy="3342174"/>
          </a:xfrm>
          <a:prstGeom prst="rect">
            <a:avLst/>
          </a:prstGeom>
        </p:spPr>
        <p:txBody>
          <a:bodyPr/>
          <a:lstStyle/>
          <a:p>
            <a:r>
              <a:rPr lang="en-US"/>
              <a:t>Click icon to add picture</a:t>
            </a:r>
          </a:p>
        </p:txBody>
      </p:sp>
    </p:spTree>
    <p:extLst>
      <p:ext uri="{BB962C8B-B14F-4D97-AF65-F5344CB8AC3E}">
        <p14:creationId xmlns:p14="http://schemas.microsoft.com/office/powerpoint/2010/main" val="31350609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4803190"/>
            <a:ext cx="12192000" cy="2054810"/>
          </a:xfrm>
          <a:prstGeom prst="rect">
            <a:avLst/>
          </a:prstGeom>
        </p:spPr>
        <p:txBody>
          <a:bodyPr/>
          <a:lstStyle/>
          <a:p>
            <a:r>
              <a:rPr lang="en-US"/>
              <a:t>Click icon to add picture</a:t>
            </a:r>
          </a:p>
        </p:txBody>
      </p:sp>
    </p:spTree>
    <p:extLst>
      <p:ext uri="{BB962C8B-B14F-4D97-AF65-F5344CB8AC3E}">
        <p14:creationId xmlns:p14="http://schemas.microsoft.com/office/powerpoint/2010/main" val="3731902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0" name="Picture Placeholder 29"/>
          <p:cNvSpPr>
            <a:spLocks noGrp="1"/>
          </p:cNvSpPr>
          <p:nvPr>
            <p:ph type="pic" sz="quarter" idx="10"/>
          </p:nvPr>
        </p:nvSpPr>
        <p:spPr>
          <a:xfrm>
            <a:off x="502872" y="2222015"/>
            <a:ext cx="2540001" cy="2533176"/>
          </a:xfrm>
          <a:prstGeom prst="diamond">
            <a:avLst/>
          </a:prstGeom>
        </p:spPr>
        <p:txBody>
          <a:bodyPr/>
          <a:lstStyle>
            <a:lvl1pPr>
              <a:defRPr sz="1400"/>
            </a:lvl1pPr>
          </a:lstStyle>
          <a:p>
            <a:r>
              <a:rPr lang="en-US"/>
              <a:t>Click icon to add picture</a:t>
            </a:r>
          </a:p>
        </p:txBody>
      </p:sp>
      <p:sp>
        <p:nvSpPr>
          <p:cNvPr id="36" name="Picture Placeholder 4"/>
          <p:cNvSpPr>
            <a:spLocks noGrp="1"/>
          </p:cNvSpPr>
          <p:nvPr>
            <p:ph type="pic" sz="quarter" idx="15"/>
          </p:nvPr>
        </p:nvSpPr>
        <p:spPr>
          <a:xfrm>
            <a:off x="0" y="-1"/>
            <a:ext cx="12192000" cy="1204687"/>
          </a:xfrm>
          <a:prstGeom prst="rect">
            <a:avLst/>
          </a:prstGeom>
        </p:spPr>
        <p:txBody>
          <a:bodyPr/>
          <a:lstStyle/>
          <a:p>
            <a:r>
              <a:rPr lang="en-US"/>
              <a:t>Click icon to add picture</a:t>
            </a:r>
          </a:p>
        </p:txBody>
      </p:sp>
      <p:sp>
        <p:nvSpPr>
          <p:cNvPr id="50" name="Picture Placeholder 29"/>
          <p:cNvSpPr>
            <a:spLocks noGrp="1"/>
          </p:cNvSpPr>
          <p:nvPr>
            <p:ph type="pic" sz="quarter" idx="16"/>
          </p:nvPr>
        </p:nvSpPr>
        <p:spPr>
          <a:xfrm>
            <a:off x="4834425" y="2222015"/>
            <a:ext cx="2540001" cy="2533176"/>
          </a:xfrm>
          <a:prstGeom prst="diamond">
            <a:avLst/>
          </a:prstGeom>
        </p:spPr>
        <p:txBody>
          <a:bodyPr/>
          <a:lstStyle>
            <a:lvl1pPr>
              <a:defRPr sz="1400"/>
            </a:lvl1pPr>
          </a:lstStyle>
          <a:p>
            <a:r>
              <a:rPr lang="en-US"/>
              <a:t>Click icon to add picture</a:t>
            </a:r>
          </a:p>
        </p:txBody>
      </p:sp>
      <p:sp>
        <p:nvSpPr>
          <p:cNvPr id="51" name="Picture Placeholder 29"/>
          <p:cNvSpPr>
            <a:spLocks noGrp="1"/>
          </p:cNvSpPr>
          <p:nvPr>
            <p:ph type="pic" sz="quarter" idx="17"/>
          </p:nvPr>
        </p:nvSpPr>
        <p:spPr>
          <a:xfrm>
            <a:off x="9165979" y="2222015"/>
            <a:ext cx="2540001" cy="2533176"/>
          </a:xfrm>
          <a:prstGeom prst="diamond">
            <a:avLst/>
          </a:prstGeom>
        </p:spPr>
        <p:txBody>
          <a:bodyPr/>
          <a:lstStyle>
            <a:lvl1pPr>
              <a:defRPr sz="1400"/>
            </a:lvl1pPr>
          </a:lstStyle>
          <a:p>
            <a:r>
              <a:rPr lang="en-US"/>
              <a:t>Click icon to add picture</a:t>
            </a:r>
          </a:p>
        </p:txBody>
      </p:sp>
      <p:sp>
        <p:nvSpPr>
          <p:cNvPr id="52" name="Picture Placeholder 29"/>
          <p:cNvSpPr>
            <a:spLocks noGrp="1"/>
          </p:cNvSpPr>
          <p:nvPr>
            <p:ph type="pic" sz="quarter" idx="18"/>
          </p:nvPr>
        </p:nvSpPr>
        <p:spPr>
          <a:xfrm>
            <a:off x="2668648" y="3199288"/>
            <a:ext cx="2540001" cy="2533176"/>
          </a:xfrm>
          <a:prstGeom prst="diamond">
            <a:avLst/>
          </a:prstGeom>
        </p:spPr>
        <p:txBody>
          <a:bodyPr/>
          <a:lstStyle>
            <a:lvl1pPr>
              <a:defRPr sz="1400"/>
            </a:lvl1pPr>
          </a:lstStyle>
          <a:p>
            <a:r>
              <a:rPr lang="en-US"/>
              <a:t>Click icon to add picture</a:t>
            </a:r>
          </a:p>
        </p:txBody>
      </p:sp>
      <p:sp>
        <p:nvSpPr>
          <p:cNvPr id="53" name="Picture Placeholder 29"/>
          <p:cNvSpPr>
            <a:spLocks noGrp="1"/>
          </p:cNvSpPr>
          <p:nvPr>
            <p:ph type="pic" sz="quarter" idx="19"/>
          </p:nvPr>
        </p:nvSpPr>
        <p:spPr>
          <a:xfrm>
            <a:off x="7000202" y="3199288"/>
            <a:ext cx="2540001" cy="2533176"/>
          </a:xfrm>
          <a:prstGeom prst="diamond">
            <a:avLst/>
          </a:prstGeom>
        </p:spPr>
        <p:txBody>
          <a:bodyPr/>
          <a:lstStyle>
            <a:lvl1pPr>
              <a:defRPr sz="1400"/>
            </a:lvl1pPr>
          </a:lstStyle>
          <a:p>
            <a:r>
              <a:rPr lang="en-US"/>
              <a:t>Click icon to add picture</a:t>
            </a:r>
          </a:p>
        </p:txBody>
      </p:sp>
    </p:spTree>
    <p:extLst>
      <p:ext uri="{BB962C8B-B14F-4D97-AF65-F5344CB8AC3E}">
        <p14:creationId xmlns:p14="http://schemas.microsoft.com/office/powerpoint/2010/main" val="37340740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2" name="Picture Placeholder 4"/>
          <p:cNvSpPr>
            <a:spLocks noGrp="1"/>
          </p:cNvSpPr>
          <p:nvPr>
            <p:ph type="pic" sz="quarter" idx="10"/>
          </p:nvPr>
        </p:nvSpPr>
        <p:spPr>
          <a:xfrm>
            <a:off x="0" y="2362471"/>
            <a:ext cx="12192000" cy="2133058"/>
          </a:xfrm>
          <a:prstGeom prst="rect">
            <a:avLst/>
          </a:prstGeom>
        </p:spPr>
        <p:txBody>
          <a:bodyPr/>
          <a:lstStyle/>
          <a:p>
            <a:r>
              <a:rPr lang="en-US"/>
              <a:t>Click icon to add picture</a:t>
            </a:r>
            <a:endParaRPr lang="en-US" dirty="0"/>
          </a:p>
        </p:txBody>
      </p:sp>
    </p:spTree>
    <p:extLst>
      <p:ext uri="{BB962C8B-B14F-4D97-AF65-F5344CB8AC3E}">
        <p14:creationId xmlns:p14="http://schemas.microsoft.com/office/powerpoint/2010/main" val="13786093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4217550" y="2"/>
            <a:ext cx="3756901" cy="6857998"/>
          </a:xfrm>
          <a:prstGeom prst="rect">
            <a:avLst/>
          </a:prstGeom>
        </p:spPr>
        <p:txBody>
          <a:bodyPr/>
          <a:lstStyle/>
          <a:p>
            <a:r>
              <a:rPr lang="en-US"/>
              <a:t>Click icon to add picture</a:t>
            </a:r>
            <a:endParaRPr lang="en-US" dirty="0"/>
          </a:p>
        </p:txBody>
      </p:sp>
    </p:spTree>
    <p:extLst>
      <p:ext uri="{BB962C8B-B14F-4D97-AF65-F5344CB8AC3E}">
        <p14:creationId xmlns:p14="http://schemas.microsoft.com/office/powerpoint/2010/main" val="3879748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0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21355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9" name="Picture Placeholder 8"/>
          <p:cNvSpPr>
            <a:spLocks noGrp="1"/>
          </p:cNvSpPr>
          <p:nvPr>
            <p:ph type="pic" sz="quarter" idx="11"/>
          </p:nvPr>
        </p:nvSpPr>
        <p:spPr>
          <a:xfrm>
            <a:off x="1428935" y="3623586"/>
            <a:ext cx="1332000" cy="1332000"/>
          </a:xfrm>
          <a:prstGeom prst="diamond">
            <a:avLst/>
          </a:prstGeom>
        </p:spPr>
        <p:txBody>
          <a:bodyPr/>
          <a:lstStyle>
            <a:lvl1pPr>
              <a:defRPr sz="600"/>
            </a:lvl1pPr>
          </a:lstStyle>
          <a:p>
            <a:endParaRPr lang="en-US"/>
          </a:p>
        </p:txBody>
      </p:sp>
      <p:sp>
        <p:nvSpPr>
          <p:cNvPr id="26" name="Picture Placeholder 8"/>
          <p:cNvSpPr>
            <a:spLocks noGrp="1"/>
          </p:cNvSpPr>
          <p:nvPr>
            <p:ph type="pic" sz="quarter" idx="12"/>
          </p:nvPr>
        </p:nvSpPr>
        <p:spPr>
          <a:xfrm>
            <a:off x="5426654" y="3623586"/>
            <a:ext cx="1332000" cy="1332000"/>
          </a:xfrm>
          <a:prstGeom prst="diamond">
            <a:avLst/>
          </a:prstGeom>
        </p:spPr>
        <p:txBody>
          <a:bodyPr/>
          <a:lstStyle>
            <a:lvl1pPr>
              <a:defRPr sz="600"/>
            </a:lvl1pPr>
          </a:lstStyle>
          <a:p>
            <a:endParaRPr lang="en-US"/>
          </a:p>
        </p:txBody>
      </p:sp>
      <p:sp>
        <p:nvSpPr>
          <p:cNvPr id="27" name="Picture Placeholder 8"/>
          <p:cNvSpPr>
            <a:spLocks noGrp="1"/>
          </p:cNvSpPr>
          <p:nvPr>
            <p:ph type="pic" sz="quarter" idx="13"/>
          </p:nvPr>
        </p:nvSpPr>
        <p:spPr>
          <a:xfrm>
            <a:off x="9424373" y="3623586"/>
            <a:ext cx="1332000" cy="1332000"/>
          </a:xfrm>
          <a:prstGeom prst="diamond">
            <a:avLst/>
          </a:prstGeom>
        </p:spPr>
        <p:txBody>
          <a:bodyPr/>
          <a:lstStyle>
            <a:lvl1pPr>
              <a:defRPr sz="600"/>
            </a:lvl1pPr>
          </a:lstStyle>
          <a:p>
            <a:endParaRPr lang="en-US"/>
          </a:p>
        </p:txBody>
      </p:sp>
      <p:sp>
        <p:nvSpPr>
          <p:cNvPr id="7" name="Picture Placeholder 4"/>
          <p:cNvSpPr>
            <a:spLocks noGrp="1"/>
          </p:cNvSpPr>
          <p:nvPr userDrawn="1">
            <p:ph type="pic" sz="quarter" idx="10"/>
          </p:nvPr>
        </p:nvSpPr>
        <p:spPr>
          <a:xfrm>
            <a:off x="0" y="0"/>
            <a:ext cx="12192000" cy="3416300"/>
          </a:xfrm>
          <a:prstGeom prst="rect">
            <a:avLst/>
          </a:prstGeom>
        </p:spPr>
        <p:txBody>
          <a:bodyPr/>
          <a:lstStyle/>
          <a:p>
            <a:endParaRPr lang="en-US"/>
          </a:p>
        </p:txBody>
      </p:sp>
    </p:spTree>
    <p:extLst>
      <p:ext uri="{BB962C8B-B14F-4D97-AF65-F5344CB8AC3E}">
        <p14:creationId xmlns:p14="http://schemas.microsoft.com/office/powerpoint/2010/main" val="11979292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grayscl/>
            <a:extLst>
              <a:ext uri="{28A0092B-C50C-407E-A947-70E740481C1C}">
                <a14:useLocalDpi xmlns:a14="http://schemas.microsoft.com/office/drawing/2010/main" val="0"/>
              </a:ext>
            </a:extLst>
          </a:blip>
          <a:srcRect l="5719" r="5719"/>
          <a:stretch/>
        </p:blipFill>
        <p:spPr>
          <a:xfrm>
            <a:off x="0" y="1"/>
            <a:ext cx="12192000" cy="6858000"/>
          </a:xfrm>
          <a:prstGeom prst="rect">
            <a:avLst/>
          </a:prstGeom>
        </p:spPr>
      </p:pic>
      <p:sp>
        <p:nvSpPr>
          <p:cNvPr id="29" name="Rectangle 28"/>
          <p:cNvSpPr/>
          <p:nvPr userDrawn="1"/>
        </p:nvSpPr>
        <p:spPr>
          <a:xfrm>
            <a:off x="0" y="0"/>
            <a:ext cx="12192000"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25939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3416300"/>
          </a:xfrm>
          <a:prstGeom prst="rect">
            <a:avLst/>
          </a:prstGeom>
        </p:spPr>
        <p:txBody>
          <a:bodyPr/>
          <a:lstStyle/>
          <a:p>
            <a:endParaRPr lang="en-US"/>
          </a:p>
        </p:txBody>
      </p:sp>
    </p:spTree>
    <p:extLst>
      <p:ext uri="{BB962C8B-B14F-4D97-AF65-F5344CB8AC3E}">
        <p14:creationId xmlns:p14="http://schemas.microsoft.com/office/powerpoint/2010/main" val="30026415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4030964"/>
          </a:xfrm>
          <a:prstGeom prst="rect">
            <a:avLst/>
          </a:prstGeom>
        </p:spPr>
        <p:txBody>
          <a:bodyPr/>
          <a:lstStyle/>
          <a:p>
            <a:endParaRPr lang="en-US"/>
          </a:p>
        </p:txBody>
      </p:sp>
    </p:spTree>
    <p:extLst>
      <p:ext uri="{BB962C8B-B14F-4D97-AF65-F5344CB8AC3E}">
        <p14:creationId xmlns:p14="http://schemas.microsoft.com/office/powerpoint/2010/main" val="21028837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grayscl/>
            <a:extLst>
              <a:ext uri="{28A0092B-C50C-407E-A947-70E740481C1C}">
                <a14:useLocalDpi xmlns:a14="http://schemas.microsoft.com/office/drawing/2010/main" val="0"/>
              </a:ext>
            </a:extLst>
          </a:blip>
          <a:srcRect t="7812" b="8081"/>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7656795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6" name="Picture Placeholder 4"/>
          <p:cNvSpPr>
            <a:spLocks noGrp="1"/>
          </p:cNvSpPr>
          <p:nvPr>
            <p:ph type="pic" sz="quarter" idx="10"/>
          </p:nvPr>
        </p:nvSpPr>
        <p:spPr>
          <a:xfrm>
            <a:off x="0" y="-1"/>
            <a:ext cx="12192000" cy="2133058"/>
          </a:xfrm>
          <a:prstGeom prst="rect">
            <a:avLst/>
          </a:prstGeom>
        </p:spPr>
        <p:txBody>
          <a:bodyPr/>
          <a:lstStyle/>
          <a:p>
            <a:endParaRPr lang="en-US"/>
          </a:p>
        </p:txBody>
      </p:sp>
    </p:spTree>
    <p:extLst>
      <p:ext uri="{BB962C8B-B14F-4D97-AF65-F5344CB8AC3E}">
        <p14:creationId xmlns:p14="http://schemas.microsoft.com/office/powerpoint/2010/main" val="20551092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105" name="Picture Placeholder 4"/>
          <p:cNvSpPr>
            <a:spLocks noGrp="1"/>
          </p:cNvSpPr>
          <p:nvPr>
            <p:ph type="pic" sz="quarter" idx="14"/>
          </p:nvPr>
        </p:nvSpPr>
        <p:spPr>
          <a:xfrm>
            <a:off x="0" y="-1"/>
            <a:ext cx="12192000" cy="2133058"/>
          </a:xfrm>
          <a:prstGeom prst="rect">
            <a:avLst/>
          </a:prstGeom>
        </p:spPr>
        <p:txBody>
          <a:bodyPr/>
          <a:lstStyle/>
          <a:p>
            <a:endParaRPr lang="en-US"/>
          </a:p>
        </p:txBody>
      </p:sp>
      <p:sp>
        <p:nvSpPr>
          <p:cNvPr id="93" name="Picture Placeholder 92"/>
          <p:cNvSpPr>
            <a:spLocks noGrp="1"/>
          </p:cNvSpPr>
          <p:nvPr>
            <p:ph type="pic" sz="quarter" idx="10"/>
          </p:nvPr>
        </p:nvSpPr>
        <p:spPr>
          <a:xfrm>
            <a:off x="709574" y="2873690"/>
            <a:ext cx="2293564" cy="1714919"/>
          </a:xfrm>
          <a:prstGeom prst="diamond">
            <a:avLst/>
          </a:prstGeom>
        </p:spPr>
        <p:txBody>
          <a:bodyPr/>
          <a:lstStyle>
            <a:lvl1pPr>
              <a:defRPr sz="1200"/>
            </a:lvl1pPr>
          </a:lstStyle>
          <a:p>
            <a:endParaRPr lang="en-US"/>
          </a:p>
        </p:txBody>
      </p:sp>
      <p:sp>
        <p:nvSpPr>
          <p:cNvPr id="123" name="Picture Placeholder 92"/>
          <p:cNvSpPr>
            <a:spLocks noGrp="1"/>
          </p:cNvSpPr>
          <p:nvPr>
            <p:ph type="pic" sz="quarter" idx="15"/>
          </p:nvPr>
        </p:nvSpPr>
        <p:spPr>
          <a:xfrm>
            <a:off x="3544979" y="2873690"/>
            <a:ext cx="2293564" cy="1714919"/>
          </a:xfrm>
          <a:prstGeom prst="diamond">
            <a:avLst/>
          </a:prstGeom>
        </p:spPr>
        <p:txBody>
          <a:bodyPr/>
          <a:lstStyle>
            <a:lvl1pPr>
              <a:defRPr sz="1200"/>
            </a:lvl1pPr>
          </a:lstStyle>
          <a:p>
            <a:endParaRPr lang="en-US"/>
          </a:p>
        </p:txBody>
      </p:sp>
      <p:sp>
        <p:nvSpPr>
          <p:cNvPr id="124" name="Picture Placeholder 92"/>
          <p:cNvSpPr>
            <a:spLocks noGrp="1"/>
          </p:cNvSpPr>
          <p:nvPr>
            <p:ph type="pic" sz="quarter" idx="16"/>
          </p:nvPr>
        </p:nvSpPr>
        <p:spPr>
          <a:xfrm>
            <a:off x="6359917" y="2873690"/>
            <a:ext cx="2293564" cy="1714919"/>
          </a:xfrm>
          <a:prstGeom prst="diamond">
            <a:avLst/>
          </a:prstGeom>
        </p:spPr>
        <p:txBody>
          <a:bodyPr/>
          <a:lstStyle>
            <a:lvl1pPr>
              <a:defRPr sz="1200"/>
            </a:lvl1pPr>
          </a:lstStyle>
          <a:p>
            <a:endParaRPr lang="en-US"/>
          </a:p>
        </p:txBody>
      </p:sp>
      <p:sp>
        <p:nvSpPr>
          <p:cNvPr id="125" name="Picture Placeholder 92"/>
          <p:cNvSpPr>
            <a:spLocks noGrp="1"/>
          </p:cNvSpPr>
          <p:nvPr>
            <p:ph type="pic" sz="quarter" idx="17"/>
          </p:nvPr>
        </p:nvSpPr>
        <p:spPr>
          <a:xfrm>
            <a:off x="9195322" y="2873690"/>
            <a:ext cx="2293564" cy="1714919"/>
          </a:xfrm>
          <a:prstGeom prst="diamond">
            <a:avLst/>
          </a:prstGeom>
        </p:spPr>
        <p:txBody>
          <a:bodyPr/>
          <a:lstStyle>
            <a:lvl1pPr>
              <a:defRPr sz="1200"/>
            </a:lvl1pPr>
          </a:lstStyle>
          <a:p>
            <a:endParaRPr lang="en-US"/>
          </a:p>
        </p:txBody>
      </p:sp>
    </p:spTree>
    <p:extLst>
      <p:ext uri="{BB962C8B-B14F-4D97-AF65-F5344CB8AC3E}">
        <p14:creationId xmlns:p14="http://schemas.microsoft.com/office/powerpoint/2010/main" val="24433034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549275"/>
            <a:ext cx="5473075" cy="5759450"/>
          </a:xfrm>
          <a:prstGeom prst="rect">
            <a:avLst/>
          </a:prstGeom>
        </p:spPr>
        <p:txBody>
          <a:bodyPr/>
          <a:lstStyle/>
          <a:p>
            <a:endParaRPr lang="en-US"/>
          </a:p>
        </p:txBody>
      </p:sp>
    </p:spTree>
    <p:extLst>
      <p:ext uri="{BB962C8B-B14F-4D97-AF65-F5344CB8AC3E}">
        <p14:creationId xmlns:p14="http://schemas.microsoft.com/office/powerpoint/2010/main" val="19870506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4803190"/>
            <a:ext cx="12192000" cy="2054810"/>
          </a:xfrm>
          <a:prstGeom prst="rect">
            <a:avLst/>
          </a:prstGeom>
        </p:spPr>
        <p:txBody>
          <a:bodyPr/>
          <a:lstStyle/>
          <a:p>
            <a:endParaRPr lang="en-US"/>
          </a:p>
        </p:txBody>
      </p:sp>
    </p:spTree>
    <p:extLst>
      <p:ext uri="{BB962C8B-B14F-4D97-AF65-F5344CB8AC3E}">
        <p14:creationId xmlns:p14="http://schemas.microsoft.com/office/powerpoint/2010/main" val="9662892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1_Custom Layout">
    <p:spTree>
      <p:nvGrpSpPr>
        <p:cNvPr id="1" name=""/>
        <p:cNvGrpSpPr/>
        <p:nvPr/>
      </p:nvGrpSpPr>
      <p:grpSpPr>
        <a:xfrm>
          <a:off x="0" y="0"/>
          <a:ext cx="0" cy="0"/>
          <a:chOff x="0" y="0"/>
          <a:chExt cx="0" cy="0"/>
        </a:xfrm>
      </p:grpSpPr>
      <p:sp>
        <p:nvSpPr>
          <p:cNvPr id="30" name="Picture Placeholder 29"/>
          <p:cNvSpPr>
            <a:spLocks noGrp="1"/>
          </p:cNvSpPr>
          <p:nvPr>
            <p:ph type="pic" sz="quarter" idx="10"/>
          </p:nvPr>
        </p:nvSpPr>
        <p:spPr>
          <a:xfrm>
            <a:off x="598202" y="2328831"/>
            <a:ext cx="2798897" cy="2098805"/>
          </a:xfrm>
          <a:prstGeom prst="diamond">
            <a:avLst/>
          </a:prstGeom>
        </p:spPr>
        <p:txBody>
          <a:bodyPr/>
          <a:lstStyle>
            <a:lvl1pPr>
              <a:defRPr sz="1400"/>
            </a:lvl1pPr>
          </a:lstStyle>
          <a:p>
            <a:endParaRPr lang="en-US"/>
          </a:p>
        </p:txBody>
      </p:sp>
      <p:sp>
        <p:nvSpPr>
          <p:cNvPr id="31" name="Picture Placeholder 29"/>
          <p:cNvSpPr>
            <a:spLocks noGrp="1"/>
          </p:cNvSpPr>
          <p:nvPr>
            <p:ph type="pic" sz="quarter" idx="11"/>
          </p:nvPr>
        </p:nvSpPr>
        <p:spPr>
          <a:xfrm>
            <a:off x="2652994" y="3587101"/>
            <a:ext cx="2798897" cy="2098805"/>
          </a:xfrm>
          <a:prstGeom prst="diamond">
            <a:avLst/>
          </a:prstGeom>
        </p:spPr>
        <p:txBody>
          <a:bodyPr/>
          <a:lstStyle>
            <a:lvl1pPr>
              <a:defRPr sz="1400"/>
            </a:lvl1pPr>
          </a:lstStyle>
          <a:p>
            <a:endParaRPr lang="en-US"/>
          </a:p>
        </p:txBody>
      </p:sp>
      <p:sp>
        <p:nvSpPr>
          <p:cNvPr id="32" name="Picture Placeholder 29"/>
          <p:cNvSpPr>
            <a:spLocks noGrp="1"/>
          </p:cNvSpPr>
          <p:nvPr>
            <p:ph type="pic" sz="quarter" idx="12"/>
          </p:nvPr>
        </p:nvSpPr>
        <p:spPr>
          <a:xfrm>
            <a:off x="4707786" y="2328831"/>
            <a:ext cx="2798897" cy="2098805"/>
          </a:xfrm>
          <a:prstGeom prst="diamond">
            <a:avLst/>
          </a:prstGeom>
        </p:spPr>
        <p:txBody>
          <a:bodyPr/>
          <a:lstStyle>
            <a:lvl1pPr>
              <a:defRPr sz="1400"/>
            </a:lvl1pPr>
          </a:lstStyle>
          <a:p>
            <a:endParaRPr lang="en-US"/>
          </a:p>
        </p:txBody>
      </p:sp>
      <p:sp>
        <p:nvSpPr>
          <p:cNvPr id="33" name="Picture Placeholder 29"/>
          <p:cNvSpPr>
            <a:spLocks noGrp="1"/>
          </p:cNvSpPr>
          <p:nvPr>
            <p:ph type="pic" sz="quarter" idx="13"/>
          </p:nvPr>
        </p:nvSpPr>
        <p:spPr>
          <a:xfrm>
            <a:off x="6762578" y="3587101"/>
            <a:ext cx="2798897" cy="2098805"/>
          </a:xfrm>
          <a:prstGeom prst="diamond">
            <a:avLst/>
          </a:prstGeom>
        </p:spPr>
        <p:txBody>
          <a:bodyPr/>
          <a:lstStyle>
            <a:lvl1pPr>
              <a:defRPr sz="1400"/>
            </a:lvl1pPr>
          </a:lstStyle>
          <a:p>
            <a:endParaRPr lang="en-US"/>
          </a:p>
        </p:txBody>
      </p:sp>
      <p:sp>
        <p:nvSpPr>
          <p:cNvPr id="34" name="Picture Placeholder 29"/>
          <p:cNvSpPr>
            <a:spLocks noGrp="1"/>
          </p:cNvSpPr>
          <p:nvPr>
            <p:ph type="pic" sz="quarter" idx="14"/>
          </p:nvPr>
        </p:nvSpPr>
        <p:spPr>
          <a:xfrm>
            <a:off x="8817369" y="2328831"/>
            <a:ext cx="2798897" cy="2098805"/>
          </a:xfrm>
          <a:prstGeom prst="diamond">
            <a:avLst/>
          </a:prstGeom>
        </p:spPr>
        <p:txBody>
          <a:bodyPr/>
          <a:lstStyle>
            <a:lvl1pPr>
              <a:defRPr sz="1400"/>
            </a:lvl1pPr>
          </a:lstStyle>
          <a:p>
            <a:endParaRPr lang="en-US"/>
          </a:p>
        </p:txBody>
      </p:sp>
      <p:sp>
        <p:nvSpPr>
          <p:cNvPr id="36" name="Picture Placeholder 4"/>
          <p:cNvSpPr>
            <a:spLocks noGrp="1"/>
          </p:cNvSpPr>
          <p:nvPr>
            <p:ph type="pic" sz="quarter" idx="15"/>
          </p:nvPr>
        </p:nvSpPr>
        <p:spPr>
          <a:xfrm>
            <a:off x="0" y="-1"/>
            <a:ext cx="12192000" cy="1204687"/>
          </a:xfrm>
          <a:prstGeom prst="rect">
            <a:avLst/>
          </a:prstGeom>
        </p:spPr>
        <p:txBody>
          <a:bodyPr/>
          <a:lstStyle/>
          <a:p>
            <a:endParaRPr lang="en-US"/>
          </a:p>
        </p:txBody>
      </p:sp>
    </p:spTree>
    <p:extLst>
      <p:ext uri="{BB962C8B-B14F-4D97-AF65-F5344CB8AC3E}">
        <p14:creationId xmlns:p14="http://schemas.microsoft.com/office/powerpoint/2010/main" val="34082939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
        <p:nvSpPr>
          <p:cNvPr id="2" name="Picture Placeholder 4"/>
          <p:cNvSpPr>
            <a:spLocks noGrp="1"/>
          </p:cNvSpPr>
          <p:nvPr>
            <p:ph type="pic" sz="quarter" idx="10"/>
          </p:nvPr>
        </p:nvSpPr>
        <p:spPr>
          <a:xfrm>
            <a:off x="0" y="2362471"/>
            <a:ext cx="12192000" cy="2133058"/>
          </a:xfrm>
          <a:prstGeom prst="rect">
            <a:avLst/>
          </a:prstGeom>
        </p:spPr>
        <p:txBody>
          <a:bodyPr/>
          <a:lstStyle/>
          <a:p>
            <a:endParaRPr lang="en-US" dirty="0"/>
          </a:p>
        </p:txBody>
      </p:sp>
    </p:spTree>
    <p:extLst>
      <p:ext uri="{BB962C8B-B14F-4D97-AF65-F5344CB8AC3E}">
        <p14:creationId xmlns:p14="http://schemas.microsoft.com/office/powerpoint/2010/main" val="2605522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3_Custom Layout">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4217550" y="2"/>
            <a:ext cx="3756901" cy="6857998"/>
          </a:xfrm>
          <a:prstGeom prst="rect">
            <a:avLst/>
          </a:prstGeom>
        </p:spPr>
        <p:txBody>
          <a:bodyPr/>
          <a:lstStyle/>
          <a:p>
            <a:endParaRPr lang="en-US" dirty="0"/>
          </a:p>
        </p:txBody>
      </p:sp>
    </p:spTree>
    <p:extLst>
      <p:ext uri="{BB962C8B-B14F-4D97-AF65-F5344CB8AC3E}">
        <p14:creationId xmlns:p14="http://schemas.microsoft.com/office/powerpoint/2010/main" val="7219096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406703"/>
            <a:ext cx="12192000" cy="3342174"/>
          </a:xfrm>
          <a:prstGeom prst="rect">
            <a:avLst/>
          </a:prstGeom>
        </p:spPr>
        <p:txBody>
          <a:bodyPr/>
          <a:lstStyle/>
          <a:p>
            <a:endParaRPr lang="en-US"/>
          </a:p>
        </p:txBody>
      </p:sp>
    </p:spTree>
    <p:extLst>
      <p:ext uri="{BB962C8B-B14F-4D97-AF65-F5344CB8AC3E}">
        <p14:creationId xmlns:p14="http://schemas.microsoft.com/office/powerpoint/2010/main" val="19009317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559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5" name="Picture Placeholder 14"/>
          <p:cNvSpPr>
            <a:spLocks noGrp="1"/>
          </p:cNvSpPr>
          <p:nvPr>
            <p:ph type="pic" sz="quarter" idx="11"/>
          </p:nvPr>
        </p:nvSpPr>
        <p:spPr>
          <a:xfrm>
            <a:off x="0" y="2"/>
            <a:ext cx="6096000" cy="2320925"/>
          </a:xfrm>
          <a:custGeom>
            <a:avLst/>
            <a:gdLst>
              <a:gd name="connsiteX0" fmla="*/ 0 w 4572000"/>
              <a:gd name="connsiteY0" fmla="*/ 0 h 2320925"/>
              <a:gd name="connsiteX1" fmla="*/ 4572000 w 4572000"/>
              <a:gd name="connsiteY1" fmla="*/ 0 h 2320925"/>
              <a:gd name="connsiteX2" fmla="*/ 2286000 w 4572000"/>
              <a:gd name="connsiteY2" fmla="*/ 2320925 h 2320925"/>
            </a:gdLst>
            <a:ahLst/>
            <a:cxnLst>
              <a:cxn ang="0">
                <a:pos x="connsiteX0" y="connsiteY0"/>
              </a:cxn>
              <a:cxn ang="0">
                <a:pos x="connsiteX1" y="connsiteY1"/>
              </a:cxn>
              <a:cxn ang="0">
                <a:pos x="connsiteX2" y="connsiteY2"/>
              </a:cxn>
            </a:cxnLst>
            <a:rect l="l" t="t" r="r" b="b"/>
            <a:pathLst>
              <a:path w="4572000" h="2320925">
                <a:moveTo>
                  <a:pt x="0" y="0"/>
                </a:moveTo>
                <a:lnTo>
                  <a:pt x="4572000" y="0"/>
                </a:lnTo>
                <a:lnTo>
                  <a:pt x="2286000" y="2320925"/>
                </a:lnTo>
                <a:close/>
              </a:path>
            </a:pathLst>
          </a:custGeom>
        </p:spPr>
        <p:txBody>
          <a:bodyPr wrap="square">
            <a:noAutofit/>
          </a:bodyPr>
          <a:lstStyle/>
          <a:p>
            <a:r>
              <a:rPr lang="en-US"/>
              <a:t>Click icon to add picture</a:t>
            </a:r>
          </a:p>
        </p:txBody>
      </p:sp>
      <p:sp>
        <p:nvSpPr>
          <p:cNvPr id="16" name="Picture Placeholder 15"/>
          <p:cNvSpPr>
            <a:spLocks noGrp="1"/>
          </p:cNvSpPr>
          <p:nvPr>
            <p:ph type="pic" sz="quarter" idx="12"/>
          </p:nvPr>
        </p:nvSpPr>
        <p:spPr>
          <a:xfrm>
            <a:off x="0" y="4537076"/>
            <a:ext cx="6096000" cy="2320925"/>
          </a:xfrm>
          <a:custGeom>
            <a:avLst/>
            <a:gdLst>
              <a:gd name="connsiteX0" fmla="*/ 2286000 w 4572000"/>
              <a:gd name="connsiteY0" fmla="*/ 0 h 2320925"/>
              <a:gd name="connsiteX1" fmla="*/ 4572000 w 4572000"/>
              <a:gd name="connsiteY1" fmla="*/ 2320925 h 2320925"/>
              <a:gd name="connsiteX2" fmla="*/ 0 w 4572000"/>
              <a:gd name="connsiteY2" fmla="*/ 2320925 h 2320925"/>
            </a:gdLst>
            <a:ahLst/>
            <a:cxnLst>
              <a:cxn ang="0">
                <a:pos x="connsiteX0" y="connsiteY0"/>
              </a:cxn>
              <a:cxn ang="0">
                <a:pos x="connsiteX1" y="connsiteY1"/>
              </a:cxn>
              <a:cxn ang="0">
                <a:pos x="connsiteX2" y="connsiteY2"/>
              </a:cxn>
            </a:cxnLst>
            <a:rect l="l" t="t" r="r" b="b"/>
            <a:pathLst>
              <a:path w="4572000" h="2320925">
                <a:moveTo>
                  <a:pt x="2286000" y="0"/>
                </a:moveTo>
                <a:lnTo>
                  <a:pt x="4572000" y="2320925"/>
                </a:lnTo>
                <a:lnTo>
                  <a:pt x="0" y="2320925"/>
                </a:lnTo>
                <a:close/>
              </a:path>
            </a:pathLst>
          </a:custGeom>
        </p:spPr>
        <p:txBody>
          <a:bodyPr wrap="square">
            <a:noAutofit/>
          </a:bodyPr>
          <a:lstStyle/>
          <a:p>
            <a:r>
              <a:rPr lang="en-US"/>
              <a:t>Click icon to add picture</a:t>
            </a:r>
          </a:p>
        </p:txBody>
      </p:sp>
      <p:sp>
        <p:nvSpPr>
          <p:cNvPr id="11" name="Picture Placeholder 10"/>
          <p:cNvSpPr>
            <a:spLocks noGrp="1"/>
          </p:cNvSpPr>
          <p:nvPr>
            <p:ph type="pic" sz="quarter" idx="10"/>
          </p:nvPr>
        </p:nvSpPr>
        <p:spPr>
          <a:xfrm>
            <a:off x="889000" y="1800226"/>
            <a:ext cx="4292600" cy="3228975"/>
          </a:xfrm>
          <a:prstGeom prst="diamond">
            <a:avLst/>
          </a:prstGeom>
        </p:spPr>
        <p:txBody>
          <a:bodyPr/>
          <a:lstStyle>
            <a:lvl1pPr>
              <a:defRPr sz="1600"/>
            </a:lvl1pPr>
          </a:lstStyle>
          <a:p>
            <a:r>
              <a:rPr lang="en-US"/>
              <a:t>Click icon to add picture</a:t>
            </a:r>
          </a:p>
        </p:txBody>
      </p:sp>
    </p:spTree>
    <p:extLst>
      <p:ext uri="{BB962C8B-B14F-4D97-AF65-F5344CB8AC3E}">
        <p14:creationId xmlns:p14="http://schemas.microsoft.com/office/powerpoint/2010/main" val="3885728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3416300"/>
          </a:xfrm>
          <a:prstGeom prst="rect">
            <a:avLst/>
          </a:prstGeom>
        </p:spPr>
        <p:txBody>
          <a:bodyPr/>
          <a:lstStyle/>
          <a:p>
            <a:r>
              <a:rPr lang="en-US"/>
              <a:t>Click icon to add picture</a:t>
            </a:r>
          </a:p>
        </p:txBody>
      </p:sp>
    </p:spTree>
    <p:extLst>
      <p:ext uri="{BB962C8B-B14F-4D97-AF65-F5344CB8AC3E}">
        <p14:creationId xmlns:p14="http://schemas.microsoft.com/office/powerpoint/2010/main" val="15834328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1_Custom Layout">
    <p:spTree>
      <p:nvGrpSpPr>
        <p:cNvPr id="1" name=""/>
        <p:cNvGrpSpPr/>
        <p:nvPr/>
      </p:nvGrpSpPr>
      <p:grpSpPr>
        <a:xfrm>
          <a:off x="0" y="0"/>
          <a:ext cx="0" cy="0"/>
          <a:chOff x="0" y="0"/>
          <a:chExt cx="0" cy="0"/>
        </a:xfrm>
      </p:grpSpPr>
      <p:sp>
        <p:nvSpPr>
          <p:cNvPr id="10" name="Picture Placeholder 8"/>
          <p:cNvSpPr>
            <a:spLocks noGrp="1"/>
          </p:cNvSpPr>
          <p:nvPr>
            <p:ph type="pic" sz="quarter" idx="12"/>
          </p:nvPr>
        </p:nvSpPr>
        <p:spPr>
          <a:xfrm>
            <a:off x="5235475" y="3728104"/>
            <a:ext cx="1726740" cy="1301097"/>
          </a:xfrm>
          <a:prstGeom prst="diamond">
            <a:avLst/>
          </a:prstGeom>
        </p:spPr>
        <p:txBody>
          <a:bodyPr/>
          <a:lstStyle>
            <a:lvl1pPr>
              <a:defRPr sz="600"/>
            </a:lvl1pPr>
          </a:lstStyle>
          <a:p>
            <a:r>
              <a:rPr lang="en-US"/>
              <a:t>Click icon to add picture</a:t>
            </a:r>
            <a:endParaRPr lang="en-US" dirty="0"/>
          </a:p>
        </p:txBody>
      </p:sp>
      <p:sp>
        <p:nvSpPr>
          <p:cNvPr id="11" name="Picture Placeholder 8"/>
          <p:cNvSpPr>
            <a:spLocks noGrp="1"/>
          </p:cNvSpPr>
          <p:nvPr>
            <p:ph type="pic" sz="quarter" idx="13"/>
          </p:nvPr>
        </p:nvSpPr>
        <p:spPr>
          <a:xfrm>
            <a:off x="9106362" y="3728104"/>
            <a:ext cx="1726740" cy="1301097"/>
          </a:xfrm>
          <a:prstGeom prst="diamond">
            <a:avLst/>
          </a:prstGeom>
        </p:spPr>
        <p:txBody>
          <a:bodyPr/>
          <a:lstStyle>
            <a:lvl1pPr>
              <a:defRPr sz="600"/>
            </a:lvl1pPr>
          </a:lstStyle>
          <a:p>
            <a:r>
              <a:rPr lang="en-US"/>
              <a:t>Click icon to add picture</a:t>
            </a:r>
          </a:p>
        </p:txBody>
      </p:sp>
      <p:sp>
        <p:nvSpPr>
          <p:cNvPr id="9" name="Picture Placeholder 8"/>
          <p:cNvSpPr>
            <a:spLocks noGrp="1"/>
          </p:cNvSpPr>
          <p:nvPr>
            <p:ph type="pic" sz="quarter" idx="11"/>
          </p:nvPr>
        </p:nvSpPr>
        <p:spPr>
          <a:xfrm>
            <a:off x="1358901" y="3728104"/>
            <a:ext cx="1726740" cy="1301097"/>
          </a:xfrm>
          <a:prstGeom prst="diamond">
            <a:avLst/>
          </a:prstGeom>
        </p:spPr>
        <p:txBody>
          <a:bodyPr/>
          <a:lstStyle>
            <a:lvl1pPr>
              <a:defRPr sz="600"/>
            </a:lvl1pPr>
          </a:lstStyle>
          <a:p>
            <a:r>
              <a:rPr lang="en-US"/>
              <a:t>Click icon to add picture</a:t>
            </a:r>
          </a:p>
        </p:txBody>
      </p:sp>
      <p:sp>
        <p:nvSpPr>
          <p:cNvPr id="7" name="Picture Placeholder 4"/>
          <p:cNvSpPr>
            <a:spLocks noGrp="1"/>
          </p:cNvSpPr>
          <p:nvPr>
            <p:ph type="pic" sz="quarter" idx="10"/>
          </p:nvPr>
        </p:nvSpPr>
        <p:spPr>
          <a:xfrm>
            <a:off x="0" y="0"/>
            <a:ext cx="12192000" cy="3416300"/>
          </a:xfrm>
          <a:prstGeom prst="rect">
            <a:avLst/>
          </a:prstGeom>
        </p:spPr>
        <p:txBody>
          <a:bodyPr/>
          <a:lstStyle/>
          <a:p>
            <a:r>
              <a:rPr lang="en-US"/>
              <a:t>Click icon to add picture</a:t>
            </a:r>
          </a:p>
        </p:txBody>
      </p:sp>
      <p:sp>
        <p:nvSpPr>
          <p:cNvPr id="6" name="Picture Placeholder 4"/>
          <p:cNvSpPr>
            <a:spLocks noGrp="1"/>
          </p:cNvSpPr>
          <p:nvPr>
            <p:ph type="pic" sz="quarter" idx="10"/>
          </p:nvPr>
        </p:nvSpPr>
        <p:spPr>
          <a:xfrm>
            <a:off x="0" y="0"/>
            <a:ext cx="12192000" cy="3416300"/>
          </a:xfrm>
          <a:prstGeom prst="rect">
            <a:avLst/>
          </a:prstGeom>
        </p:spPr>
        <p:txBody>
          <a:bodyPr/>
          <a:lstStyle/>
          <a:p>
            <a:endParaRPr lang="en-US"/>
          </a:p>
        </p:txBody>
      </p:sp>
    </p:spTree>
    <p:extLst>
      <p:ext uri="{BB962C8B-B14F-4D97-AF65-F5344CB8AC3E}">
        <p14:creationId xmlns:p14="http://schemas.microsoft.com/office/powerpoint/2010/main" val="648344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4030964"/>
          </a:xfrm>
          <a:prstGeom prst="rect">
            <a:avLst/>
          </a:prstGeom>
        </p:spPr>
        <p:txBody>
          <a:bodyPr/>
          <a:lstStyle/>
          <a:p>
            <a:r>
              <a:rPr lang="en-US"/>
              <a:t>Click icon to add picture</a:t>
            </a:r>
          </a:p>
        </p:txBody>
      </p:sp>
    </p:spTree>
    <p:extLst>
      <p:ext uri="{BB962C8B-B14F-4D97-AF65-F5344CB8AC3E}">
        <p14:creationId xmlns:p14="http://schemas.microsoft.com/office/powerpoint/2010/main" val="1511155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6" name="Picture Placeholder 4"/>
          <p:cNvSpPr>
            <a:spLocks noGrp="1"/>
          </p:cNvSpPr>
          <p:nvPr>
            <p:ph type="pic" sz="quarter" idx="10"/>
          </p:nvPr>
        </p:nvSpPr>
        <p:spPr>
          <a:xfrm>
            <a:off x="0" y="-1"/>
            <a:ext cx="12192000" cy="2133058"/>
          </a:xfrm>
          <a:prstGeom prst="rect">
            <a:avLst/>
          </a:prstGeom>
        </p:spPr>
        <p:txBody>
          <a:bodyPr/>
          <a:lstStyle/>
          <a:p>
            <a:r>
              <a:rPr lang="en-US"/>
              <a:t>Click icon to add picture</a:t>
            </a:r>
          </a:p>
        </p:txBody>
      </p:sp>
    </p:spTree>
    <p:extLst>
      <p:ext uri="{BB962C8B-B14F-4D97-AF65-F5344CB8AC3E}">
        <p14:creationId xmlns:p14="http://schemas.microsoft.com/office/powerpoint/2010/main" val="1894733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5" name="Picture Placeholder 4"/>
          <p:cNvSpPr>
            <a:spLocks noGrp="1"/>
          </p:cNvSpPr>
          <p:nvPr>
            <p:ph type="pic" sz="quarter" idx="14"/>
          </p:nvPr>
        </p:nvSpPr>
        <p:spPr>
          <a:xfrm>
            <a:off x="0" y="-1"/>
            <a:ext cx="12192000" cy="2133058"/>
          </a:xfrm>
          <a:prstGeom prst="rect">
            <a:avLst/>
          </a:prstGeom>
        </p:spPr>
        <p:txBody>
          <a:bodyPr/>
          <a:lstStyle/>
          <a:p>
            <a:r>
              <a:rPr lang="en-US"/>
              <a:t>Click icon to add picture</a:t>
            </a:r>
          </a:p>
        </p:txBody>
      </p:sp>
      <p:sp>
        <p:nvSpPr>
          <p:cNvPr id="14" name="Picture Placeholder 92"/>
          <p:cNvSpPr>
            <a:spLocks noGrp="1"/>
          </p:cNvSpPr>
          <p:nvPr>
            <p:ph type="pic" sz="quarter" idx="17"/>
          </p:nvPr>
        </p:nvSpPr>
        <p:spPr>
          <a:xfrm>
            <a:off x="9417948" y="2671364"/>
            <a:ext cx="2069561" cy="2075052"/>
          </a:xfrm>
          <a:prstGeom prst="diamond">
            <a:avLst/>
          </a:prstGeom>
        </p:spPr>
        <p:txBody>
          <a:bodyPr/>
          <a:lstStyle>
            <a:lvl1pPr>
              <a:defRPr sz="1200"/>
            </a:lvl1pPr>
          </a:lstStyle>
          <a:p>
            <a:r>
              <a:rPr lang="en-US"/>
              <a:t>Click icon to add picture</a:t>
            </a:r>
          </a:p>
        </p:txBody>
      </p:sp>
      <p:sp>
        <p:nvSpPr>
          <p:cNvPr id="93" name="Picture Placeholder 92"/>
          <p:cNvSpPr>
            <a:spLocks noGrp="1"/>
          </p:cNvSpPr>
          <p:nvPr>
            <p:ph type="pic" sz="quarter" idx="10"/>
          </p:nvPr>
        </p:nvSpPr>
        <p:spPr>
          <a:xfrm>
            <a:off x="709574" y="2671364"/>
            <a:ext cx="2069561" cy="2075052"/>
          </a:xfrm>
          <a:prstGeom prst="diamond">
            <a:avLst/>
          </a:prstGeom>
        </p:spPr>
        <p:txBody>
          <a:bodyPr/>
          <a:lstStyle>
            <a:lvl1pPr>
              <a:defRPr sz="1200"/>
            </a:lvl1pPr>
          </a:lstStyle>
          <a:p>
            <a:r>
              <a:rPr lang="en-US"/>
              <a:t>Click icon to add picture</a:t>
            </a:r>
          </a:p>
        </p:txBody>
      </p:sp>
      <p:sp>
        <p:nvSpPr>
          <p:cNvPr id="12" name="Picture Placeholder 92"/>
          <p:cNvSpPr>
            <a:spLocks noGrp="1"/>
          </p:cNvSpPr>
          <p:nvPr>
            <p:ph type="pic" sz="quarter" idx="15"/>
          </p:nvPr>
        </p:nvSpPr>
        <p:spPr>
          <a:xfrm>
            <a:off x="3613281" y="2671364"/>
            <a:ext cx="2069561" cy="2075052"/>
          </a:xfrm>
          <a:prstGeom prst="diamond">
            <a:avLst/>
          </a:prstGeom>
        </p:spPr>
        <p:txBody>
          <a:bodyPr/>
          <a:lstStyle>
            <a:lvl1pPr>
              <a:defRPr sz="1200"/>
            </a:lvl1pPr>
          </a:lstStyle>
          <a:p>
            <a:r>
              <a:rPr lang="en-US"/>
              <a:t>Click icon to add picture</a:t>
            </a:r>
          </a:p>
        </p:txBody>
      </p:sp>
      <p:sp>
        <p:nvSpPr>
          <p:cNvPr id="13" name="Picture Placeholder 92"/>
          <p:cNvSpPr>
            <a:spLocks noGrp="1"/>
          </p:cNvSpPr>
          <p:nvPr>
            <p:ph type="pic" sz="quarter" idx="16"/>
          </p:nvPr>
        </p:nvSpPr>
        <p:spPr>
          <a:xfrm>
            <a:off x="6516988" y="2671364"/>
            <a:ext cx="2069561" cy="2075052"/>
          </a:xfrm>
          <a:prstGeom prst="diamond">
            <a:avLst/>
          </a:prstGeom>
        </p:spPr>
        <p:txBody>
          <a:bodyPr/>
          <a:lstStyle>
            <a:lvl1pPr>
              <a:defRPr sz="1200"/>
            </a:lvl1pPr>
          </a:lstStyle>
          <a:p>
            <a:r>
              <a:rPr lang="en-US"/>
              <a:t>Click icon to add picture</a:t>
            </a:r>
          </a:p>
        </p:txBody>
      </p:sp>
    </p:spTree>
    <p:extLst>
      <p:ext uri="{BB962C8B-B14F-4D97-AF65-F5344CB8AC3E}">
        <p14:creationId xmlns:p14="http://schemas.microsoft.com/office/powerpoint/2010/main" val="1702457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549275"/>
            <a:ext cx="5473075" cy="5759450"/>
          </a:xfrm>
          <a:prstGeom prst="rect">
            <a:avLst/>
          </a:prstGeom>
        </p:spPr>
        <p:txBody>
          <a:bodyPr/>
          <a:lstStyle/>
          <a:p>
            <a:r>
              <a:rPr lang="en-US"/>
              <a:t>Click icon to add picture</a:t>
            </a:r>
          </a:p>
        </p:txBody>
      </p:sp>
    </p:spTree>
    <p:extLst>
      <p:ext uri="{BB962C8B-B14F-4D97-AF65-F5344CB8AC3E}">
        <p14:creationId xmlns:p14="http://schemas.microsoft.com/office/powerpoint/2010/main" val="33179857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0435560-F8AE-42C6-9F79-F2B0F16554FD}"/>
              </a:ext>
            </a:extLst>
          </p:cNvPr>
          <p:cNvGrpSpPr/>
          <p:nvPr userDrawn="1"/>
        </p:nvGrpSpPr>
        <p:grpSpPr>
          <a:xfrm>
            <a:off x="0" y="-25400"/>
            <a:ext cx="12192000" cy="6883400"/>
            <a:chOff x="0" y="-25400"/>
            <a:chExt cx="12192000" cy="6883400"/>
          </a:xfrm>
        </p:grpSpPr>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0" y="-25400"/>
              <a:ext cx="12192000" cy="6883400"/>
            </a:xfrm>
            <a:prstGeom prst="rect">
              <a:avLst/>
            </a:prstGeom>
          </p:spPr>
        </p:pic>
        <p:sp>
          <p:nvSpPr>
            <p:cNvPr id="8" name="Rectangle 7"/>
            <p:cNvSpPr/>
            <p:nvPr/>
          </p:nvSpPr>
          <p:spPr>
            <a:xfrm>
              <a:off x="0" y="-25400"/>
              <a:ext cx="12192000" cy="68834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0" y="-25400"/>
              <a:ext cx="12192000" cy="6883400"/>
            </a:xfrm>
            <a:prstGeom prst="rect">
              <a:avLst/>
            </a:prstGeom>
          </p:spPr>
        </p:pic>
        <p:sp>
          <p:nvSpPr>
            <p:cNvPr id="5" name="Rectangle 4"/>
            <p:cNvSpPr/>
            <p:nvPr userDrawn="1"/>
          </p:nvSpPr>
          <p:spPr>
            <a:xfrm>
              <a:off x="0" y="-25400"/>
              <a:ext cx="12192000" cy="68834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27201844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4" r:id="rId16"/>
    <p:sldLayoutId id="2147483693"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5" r:id="rId27"/>
    <p:sldLayoutId id="2147483678" r:id="rId2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jpg"/><Relationship Id="rId26" Type="http://schemas.openxmlformats.org/officeDocument/2006/relationships/image" Target="../media/image63.png"/><Relationship Id="rId3" Type="http://schemas.openxmlformats.org/officeDocument/2006/relationships/image" Target="../media/image40.png"/><Relationship Id="rId21" Type="http://schemas.openxmlformats.org/officeDocument/2006/relationships/image" Target="../media/image58.png"/><Relationship Id="rId7" Type="http://schemas.openxmlformats.org/officeDocument/2006/relationships/image" Target="../media/image44.jpg"/><Relationship Id="rId12" Type="http://schemas.openxmlformats.org/officeDocument/2006/relationships/image" Target="../media/image49.jpg"/><Relationship Id="rId17" Type="http://schemas.openxmlformats.org/officeDocument/2006/relationships/image" Target="../media/image54.png"/><Relationship Id="rId25" Type="http://schemas.openxmlformats.org/officeDocument/2006/relationships/image" Target="../media/image62.png"/><Relationship Id="rId2" Type="http://schemas.openxmlformats.org/officeDocument/2006/relationships/image" Target="../media/image39.jpeg"/><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13.xml"/><Relationship Id="rId6" Type="http://schemas.openxmlformats.org/officeDocument/2006/relationships/image" Target="../media/image43.png"/><Relationship Id="rId11" Type="http://schemas.openxmlformats.org/officeDocument/2006/relationships/image" Target="../media/image48.jpg"/><Relationship Id="rId24" Type="http://schemas.openxmlformats.org/officeDocument/2006/relationships/image" Target="../media/image61.jpg"/><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image" Target="../media/image60.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jpg"/><Relationship Id="rId9" Type="http://schemas.openxmlformats.org/officeDocument/2006/relationships/image" Target="../media/image46.png"/><Relationship Id="rId14" Type="http://schemas.openxmlformats.org/officeDocument/2006/relationships/image" Target="../media/image51.jpeg"/><Relationship Id="rId22" Type="http://schemas.openxmlformats.org/officeDocument/2006/relationships/image" Target="../media/image59.png"/></Relationships>
</file>

<file path=ppt/slides/_rels/slide1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64.png"/><Relationship Id="rId7" Type="http://schemas.openxmlformats.org/officeDocument/2006/relationships/image" Target="../media/image66.png"/><Relationship Id="rId2" Type="http://schemas.openxmlformats.org/officeDocument/2006/relationships/image" Target="../media/image16.jpeg"/><Relationship Id="rId1" Type="http://schemas.openxmlformats.org/officeDocument/2006/relationships/slideLayout" Target="../slideLayouts/slideLayout12.xml"/><Relationship Id="rId6" Type="http://schemas.microsoft.com/office/2007/relationships/hdphoto" Target="../media/hdphoto6.wdp"/><Relationship Id="rId5" Type="http://schemas.openxmlformats.org/officeDocument/2006/relationships/image" Target="../media/image65.png"/><Relationship Id="rId10" Type="http://schemas.microsoft.com/office/2007/relationships/hdphoto" Target="../media/hdphoto8.wdp"/><Relationship Id="rId4" Type="http://schemas.microsoft.com/office/2007/relationships/hdphoto" Target="../media/hdphoto5.wdp"/><Relationship Id="rId9" Type="http://schemas.openxmlformats.org/officeDocument/2006/relationships/image" Target="../media/image67.png"/></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16.jpeg"/><Relationship Id="rId1" Type="http://schemas.openxmlformats.org/officeDocument/2006/relationships/slideLayout" Target="../slideLayouts/slideLayout12.xml"/><Relationship Id="rId4" Type="http://schemas.microsoft.com/office/2007/relationships/hdphoto" Target="../media/hdphoto9.wdp"/></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0.xml"/><Relationship Id="rId4" Type="http://schemas.openxmlformats.org/officeDocument/2006/relationships/image" Target="../media/image71.svg"/></Relationships>
</file>

<file path=ppt/slides/_rels/slide1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slideLayout" Target="../slideLayouts/slideLayout28.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Layout" Target="../slideLayouts/slideLayout6.xml"/><Relationship Id="rId5" Type="http://schemas.openxmlformats.org/officeDocument/2006/relationships/image" Target="../media/image10.sv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JPG"/><Relationship Id="rId7" Type="http://schemas.microsoft.com/office/2007/relationships/hdphoto" Target="../media/hdphoto3.wdp"/><Relationship Id="rId12" Type="http://schemas.openxmlformats.org/officeDocument/2006/relationships/image" Target="../media/image24.jpeg"/><Relationship Id="rId2" Type="http://schemas.openxmlformats.org/officeDocument/2006/relationships/image" Target="../media/image16.jpeg"/><Relationship Id="rId1" Type="http://schemas.openxmlformats.org/officeDocument/2006/relationships/slideLayout" Target="../slideLayouts/slideLayout12.xml"/><Relationship Id="rId6" Type="http://schemas.openxmlformats.org/officeDocument/2006/relationships/image" Target="../media/image20.png"/><Relationship Id="rId11" Type="http://schemas.openxmlformats.org/officeDocument/2006/relationships/image" Target="../media/image23.jpeg"/><Relationship Id="rId5" Type="http://schemas.openxmlformats.org/officeDocument/2006/relationships/image" Target="../media/image19.jpeg"/><Relationship Id="rId10" Type="http://schemas.openxmlformats.org/officeDocument/2006/relationships/image" Target="../media/image22.jpeg"/><Relationship Id="rId4" Type="http://schemas.openxmlformats.org/officeDocument/2006/relationships/image" Target="../media/image18.jpg"/><Relationship Id="rId9" Type="http://schemas.microsoft.com/office/2007/relationships/hdphoto" Target="../media/hdphoto4.wdp"/></Relationships>
</file>

<file path=ppt/slides/_rels/slide6.xml.rels><?xml version="1.0" encoding="UTF-8" standalone="yes"?>
<Relationships xmlns="http://schemas.openxmlformats.org/package/2006/relationships"><Relationship Id="rId3" Type="http://schemas.openxmlformats.org/officeDocument/2006/relationships/image" Target="../media/image25.JPG"/><Relationship Id="rId7" Type="http://schemas.openxmlformats.org/officeDocument/2006/relationships/image" Target="../media/image29.JPG"/><Relationship Id="rId2" Type="http://schemas.openxmlformats.org/officeDocument/2006/relationships/image" Target="../media/image16.jpeg"/><Relationship Id="rId1" Type="http://schemas.openxmlformats.org/officeDocument/2006/relationships/slideLayout" Target="../slideLayouts/slideLayout12.xml"/><Relationship Id="rId6" Type="http://schemas.openxmlformats.org/officeDocument/2006/relationships/image" Target="../media/image28.JPG"/><Relationship Id="rId5" Type="http://schemas.openxmlformats.org/officeDocument/2006/relationships/image" Target="../media/image27.JPG"/><Relationship Id="rId4" Type="http://schemas.openxmlformats.org/officeDocument/2006/relationships/image" Target="../media/image26.JPG"/></Relationships>
</file>

<file path=ppt/slides/_rels/slide7.xml.rels><?xml version="1.0" encoding="UTF-8" standalone="yes"?>
<Relationships xmlns="http://schemas.openxmlformats.org/package/2006/relationships"><Relationship Id="rId3" Type="http://schemas.openxmlformats.org/officeDocument/2006/relationships/image" Target="../media/image30.JPG"/><Relationship Id="rId7" Type="http://schemas.openxmlformats.org/officeDocument/2006/relationships/image" Target="../media/image34.JPG"/><Relationship Id="rId2" Type="http://schemas.openxmlformats.org/officeDocument/2006/relationships/image" Target="../media/image16.jpeg"/><Relationship Id="rId1" Type="http://schemas.openxmlformats.org/officeDocument/2006/relationships/slideLayout" Target="../slideLayouts/slideLayout12.xml"/><Relationship Id="rId6" Type="http://schemas.openxmlformats.org/officeDocument/2006/relationships/image" Target="../media/image33.JPG"/><Relationship Id="rId5" Type="http://schemas.openxmlformats.org/officeDocument/2006/relationships/image" Target="../media/image32.JPG"/><Relationship Id="rId4" Type="http://schemas.openxmlformats.org/officeDocument/2006/relationships/image" Target="../media/image31.JP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image" Target="../media/image37.sv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8.jpe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view of a city at night&#10;&#10;Description automatically generated">
            <a:extLst>
              <a:ext uri="{FF2B5EF4-FFF2-40B4-BE49-F238E27FC236}">
                <a16:creationId xmlns:a16="http://schemas.microsoft.com/office/drawing/2014/main" id="{771C8CCF-DABE-4C8F-8ACE-2F140369EB07}"/>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32994" y="-87924"/>
            <a:ext cx="12415142" cy="6945923"/>
          </a:xfrm>
          <a:prstGeom prst="rect">
            <a:avLst/>
          </a:prstGeom>
          <a:effectLst>
            <a:glow>
              <a:schemeClr val="tx1"/>
            </a:glow>
          </a:effectLst>
        </p:spPr>
      </p:pic>
      <p:sp>
        <p:nvSpPr>
          <p:cNvPr id="3" name="Diamond 2"/>
          <p:cNvSpPr/>
          <p:nvPr/>
        </p:nvSpPr>
        <p:spPr>
          <a:xfrm>
            <a:off x="3506511" y="503881"/>
            <a:ext cx="5178979" cy="5178979"/>
          </a:xfrm>
          <a:prstGeom prst="diamond">
            <a:avLst/>
          </a:prstGeom>
          <a:solidFill>
            <a:srgbClr val="8AAAE5">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Diamond 16"/>
          <p:cNvSpPr/>
          <p:nvPr/>
        </p:nvSpPr>
        <p:spPr>
          <a:xfrm>
            <a:off x="3741919" y="739289"/>
            <a:ext cx="4708163" cy="4708162"/>
          </a:xfrm>
          <a:prstGeom prst="diamond">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Line 6"/>
          <p:cNvSpPr>
            <a:spLocks noChangeShapeType="1"/>
          </p:cNvSpPr>
          <p:nvPr/>
        </p:nvSpPr>
        <p:spPr bwMode="auto">
          <a:xfrm>
            <a:off x="5896054" y="6010988"/>
            <a:ext cx="399892" cy="0"/>
          </a:xfrm>
          <a:prstGeom prst="line">
            <a:avLst/>
          </a:prstGeom>
          <a:noFill/>
          <a:ln w="571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descr="A close up of a sign&#10;&#10;Description automatically generated">
            <a:extLst>
              <a:ext uri="{FF2B5EF4-FFF2-40B4-BE49-F238E27FC236}">
                <a16:creationId xmlns:a16="http://schemas.microsoft.com/office/drawing/2014/main" id="{7243C269-1E14-4EDC-B7A2-94741DB6E5B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29275" y="1495446"/>
            <a:ext cx="933450" cy="914400"/>
          </a:xfrm>
          <a:prstGeom prst="rect">
            <a:avLst/>
          </a:prstGeom>
        </p:spPr>
      </p:pic>
      <p:sp>
        <p:nvSpPr>
          <p:cNvPr id="8" name="TextBox 7">
            <a:extLst>
              <a:ext uri="{FF2B5EF4-FFF2-40B4-BE49-F238E27FC236}">
                <a16:creationId xmlns:a16="http://schemas.microsoft.com/office/drawing/2014/main" id="{185B3BFD-629A-4AD4-8D94-93E0AB3AEB60}"/>
              </a:ext>
            </a:extLst>
          </p:cNvPr>
          <p:cNvSpPr txBox="1"/>
          <p:nvPr/>
        </p:nvSpPr>
        <p:spPr>
          <a:xfrm>
            <a:off x="4178709" y="2645255"/>
            <a:ext cx="4708163" cy="1200329"/>
          </a:xfrm>
          <a:prstGeom prst="rect">
            <a:avLst/>
          </a:prstGeom>
          <a:noFill/>
        </p:spPr>
        <p:txBody>
          <a:bodyPr wrap="square" rtlCol="0">
            <a:spAutoFit/>
          </a:bodyPr>
          <a:lstStyle/>
          <a:p>
            <a:r>
              <a:rPr lang="en-IN" sz="3600" dirty="0">
                <a:solidFill>
                  <a:schemeClr val="bg1"/>
                </a:solidFill>
                <a:latin typeface="+mj-lt"/>
              </a:rPr>
              <a:t>  </a:t>
            </a:r>
            <a:r>
              <a:rPr lang="en-IN" sz="3600" dirty="0">
                <a:solidFill>
                  <a:schemeClr val="bg1"/>
                </a:solidFill>
              </a:rPr>
              <a:t>ROTOMEK SEALS</a:t>
            </a:r>
          </a:p>
          <a:p>
            <a:r>
              <a:rPr lang="en-IN" sz="3600" dirty="0">
                <a:solidFill>
                  <a:schemeClr val="bg1"/>
                </a:solidFill>
              </a:rPr>
              <a:t>          PVT. LTD.</a:t>
            </a:r>
          </a:p>
        </p:txBody>
      </p:sp>
      <p:sp>
        <p:nvSpPr>
          <p:cNvPr id="9" name="TextBox 8">
            <a:extLst>
              <a:ext uri="{FF2B5EF4-FFF2-40B4-BE49-F238E27FC236}">
                <a16:creationId xmlns:a16="http://schemas.microsoft.com/office/drawing/2014/main" id="{93245066-7708-4164-926C-0F06B65E82A2}"/>
              </a:ext>
            </a:extLst>
          </p:cNvPr>
          <p:cNvSpPr txBox="1"/>
          <p:nvPr/>
        </p:nvSpPr>
        <p:spPr>
          <a:xfrm>
            <a:off x="5059639" y="3879156"/>
            <a:ext cx="2670596" cy="707886"/>
          </a:xfrm>
          <a:prstGeom prst="rect">
            <a:avLst/>
          </a:prstGeom>
          <a:noFill/>
        </p:spPr>
        <p:txBody>
          <a:bodyPr wrap="square" rtlCol="0">
            <a:spAutoFit/>
          </a:bodyPr>
          <a:lstStyle/>
          <a:p>
            <a:r>
              <a:rPr lang="en-IN" sz="2000" dirty="0">
                <a:solidFill>
                  <a:schemeClr val="bg1"/>
                </a:solidFill>
              </a:rPr>
              <a:t>COMPANY PROFILE</a:t>
            </a:r>
          </a:p>
          <a:p>
            <a:r>
              <a:rPr lang="en-IN" sz="2000" dirty="0">
                <a:solidFill>
                  <a:schemeClr val="bg1"/>
                </a:solidFill>
              </a:rPr>
              <a:t>            2021</a:t>
            </a:r>
          </a:p>
        </p:txBody>
      </p:sp>
    </p:spTree>
    <p:extLst>
      <p:ext uri="{BB962C8B-B14F-4D97-AF65-F5344CB8AC3E}">
        <p14:creationId xmlns:p14="http://schemas.microsoft.com/office/powerpoint/2010/main" val="37263636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t="12525" b="12525"/>
          <a:stretch/>
        </p:blipFill>
        <p:spPr/>
      </p:pic>
      <p:sp>
        <p:nvSpPr>
          <p:cNvPr id="2" name="Rectangle 1"/>
          <p:cNvSpPr/>
          <p:nvPr/>
        </p:nvSpPr>
        <p:spPr>
          <a:xfrm>
            <a:off x="0" y="2353741"/>
            <a:ext cx="12192000" cy="2150521"/>
          </a:xfrm>
          <a:prstGeom prst="rect">
            <a:avLst/>
          </a:prstGeom>
          <a:solidFill>
            <a:srgbClr val="8AAAE5">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3230878" y="2814392"/>
            <a:ext cx="5730245" cy="859887"/>
            <a:chOff x="3493931" y="2860557"/>
            <a:chExt cx="5730245" cy="859887"/>
          </a:xfrm>
        </p:grpSpPr>
        <p:grpSp>
          <p:nvGrpSpPr>
            <p:cNvPr id="3" name="Group 2"/>
            <p:cNvGrpSpPr/>
            <p:nvPr/>
          </p:nvGrpSpPr>
          <p:grpSpPr>
            <a:xfrm>
              <a:off x="4472241" y="2860557"/>
              <a:ext cx="3773624" cy="492443"/>
              <a:chOff x="2551612" y="549275"/>
              <a:chExt cx="3773624" cy="492443"/>
            </a:xfrm>
          </p:grpSpPr>
          <p:sp>
            <p:nvSpPr>
              <p:cNvPr id="4" name="Line 6"/>
              <p:cNvSpPr>
                <a:spLocks noChangeShapeType="1"/>
              </p:cNvSpPr>
              <p:nvPr/>
            </p:nvSpPr>
            <p:spPr bwMode="auto">
              <a:xfrm>
                <a:off x="4256655" y="1024552"/>
                <a:ext cx="363538" cy="0"/>
              </a:xfrm>
              <a:prstGeom prst="line">
                <a:avLst/>
              </a:prstGeom>
              <a:noFill/>
              <a:ln w="571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5" name="TextBox 4"/>
              <p:cNvSpPr txBox="1"/>
              <p:nvPr/>
            </p:nvSpPr>
            <p:spPr>
              <a:xfrm>
                <a:off x="2551612" y="549275"/>
                <a:ext cx="3773624" cy="492443"/>
              </a:xfrm>
              <a:prstGeom prst="rect">
                <a:avLst/>
              </a:prstGeom>
              <a:noFill/>
              <a:ln w="6350">
                <a:noFill/>
                <a:prstDash val="dash"/>
              </a:ln>
            </p:spPr>
            <p:txBody>
              <a:bodyPr wrap="square" lIns="0" tIns="0" rIns="0" bIns="0" rtlCol="0">
                <a:spAutoFit/>
              </a:bodyPr>
              <a:lstStyle/>
              <a:p>
                <a:pPr algn="ctr"/>
                <a:r>
                  <a:rPr lang="en-US" sz="3200" b="1" dirty="0">
                    <a:solidFill>
                      <a:schemeClr val="bg1"/>
                    </a:solidFill>
                  </a:rPr>
                  <a:t>OUR </a:t>
                </a:r>
                <a:r>
                  <a:rPr lang="en-US" sz="3200" dirty="0">
                    <a:solidFill>
                      <a:schemeClr val="bg1"/>
                    </a:solidFill>
                  </a:rPr>
                  <a:t>CLIENTS</a:t>
                </a:r>
              </a:p>
            </p:txBody>
          </p:sp>
        </p:grpSp>
        <p:sp>
          <p:nvSpPr>
            <p:cNvPr id="6" name="TextBox 5"/>
            <p:cNvSpPr txBox="1"/>
            <p:nvPr/>
          </p:nvSpPr>
          <p:spPr>
            <a:xfrm>
              <a:off x="3493931" y="3535778"/>
              <a:ext cx="5730245" cy="184666"/>
            </a:xfrm>
            <a:prstGeom prst="rect">
              <a:avLst/>
            </a:prstGeom>
            <a:noFill/>
            <a:ln w="6350">
              <a:noFill/>
              <a:prstDash val="dash"/>
            </a:ln>
          </p:spPr>
          <p:txBody>
            <a:bodyPr wrap="square" lIns="0" tIns="0" rIns="0" bIns="0" rtlCol="0">
              <a:spAutoFit/>
            </a:bodyPr>
            <a:lstStyle/>
            <a:p>
              <a:pPr algn="ctr"/>
              <a:r>
                <a:rPr lang="en-US" sz="1200" dirty="0">
                  <a:solidFill>
                    <a:schemeClr val="bg1"/>
                  </a:solidFill>
                </a:rPr>
                <a:t>Over the years we have had the privilege to work with some of the leading global brands.</a:t>
              </a:r>
            </a:p>
          </p:txBody>
        </p:sp>
      </p:grpSp>
      <p:pic>
        <p:nvPicPr>
          <p:cNvPr id="10" name="Picture 9" descr="A picture containing drawing&#10;&#10;Description automatically generated">
            <a:extLst>
              <a:ext uri="{FF2B5EF4-FFF2-40B4-BE49-F238E27FC236}">
                <a16:creationId xmlns:a16="http://schemas.microsoft.com/office/drawing/2014/main" id="{2F17E620-8560-47CC-BD7C-D7F3A444CC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367" y="25564"/>
            <a:ext cx="2040838" cy="1224503"/>
          </a:xfrm>
          <a:prstGeom prst="rect">
            <a:avLst/>
          </a:prstGeom>
        </p:spPr>
      </p:pic>
      <p:pic>
        <p:nvPicPr>
          <p:cNvPr id="12" name="Picture 11" descr="A close up of a sign&#10;&#10;Description automatically generated">
            <a:extLst>
              <a:ext uri="{FF2B5EF4-FFF2-40B4-BE49-F238E27FC236}">
                <a16:creationId xmlns:a16="http://schemas.microsoft.com/office/drawing/2014/main" id="{A6FF895B-2051-4F58-A231-7D4A870DFC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95300" y="335496"/>
            <a:ext cx="1666875" cy="771525"/>
          </a:xfrm>
          <a:prstGeom prst="rect">
            <a:avLst/>
          </a:prstGeom>
        </p:spPr>
      </p:pic>
      <p:pic>
        <p:nvPicPr>
          <p:cNvPr id="14" name="Picture 13" descr="A picture containing table&#10;&#10;Description automatically generated">
            <a:extLst>
              <a:ext uri="{FF2B5EF4-FFF2-40B4-BE49-F238E27FC236}">
                <a16:creationId xmlns:a16="http://schemas.microsoft.com/office/drawing/2014/main" id="{91C601AE-C255-4109-81E2-453388349B4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22049" y="194073"/>
            <a:ext cx="1659169" cy="1242775"/>
          </a:xfrm>
          <a:prstGeom prst="rect">
            <a:avLst/>
          </a:prstGeom>
        </p:spPr>
      </p:pic>
      <p:pic>
        <p:nvPicPr>
          <p:cNvPr id="16" name="Picture 15" descr="A close up of a sign&#10;&#10;Description automatically generated">
            <a:extLst>
              <a:ext uri="{FF2B5EF4-FFF2-40B4-BE49-F238E27FC236}">
                <a16:creationId xmlns:a16="http://schemas.microsoft.com/office/drawing/2014/main" id="{3347E1A7-5CC2-4352-807D-C5850172F0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64299" y="127343"/>
            <a:ext cx="1643896" cy="1020946"/>
          </a:xfrm>
          <a:prstGeom prst="rect">
            <a:avLst/>
          </a:prstGeom>
        </p:spPr>
      </p:pic>
      <p:pic>
        <p:nvPicPr>
          <p:cNvPr id="18" name="Picture 17" descr="A picture containing drawing&#10;&#10;Description automatically generated">
            <a:extLst>
              <a:ext uri="{FF2B5EF4-FFF2-40B4-BE49-F238E27FC236}">
                <a16:creationId xmlns:a16="http://schemas.microsoft.com/office/drawing/2014/main" id="{6A1A0EE8-3129-4115-B1AB-E08BA40F6B3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0622" y="166282"/>
            <a:ext cx="1666876" cy="1184359"/>
          </a:xfrm>
          <a:prstGeom prst="rect">
            <a:avLst/>
          </a:prstGeom>
        </p:spPr>
      </p:pic>
      <p:pic>
        <p:nvPicPr>
          <p:cNvPr id="20" name="Picture 19" descr="A picture containing food&#10;&#10;Description automatically generated">
            <a:extLst>
              <a:ext uri="{FF2B5EF4-FFF2-40B4-BE49-F238E27FC236}">
                <a16:creationId xmlns:a16="http://schemas.microsoft.com/office/drawing/2014/main" id="{8F5D5C93-E5A2-4A7B-BF37-8E1872424ED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777" y="-69507"/>
            <a:ext cx="1487624" cy="1487624"/>
          </a:xfrm>
          <a:prstGeom prst="rect">
            <a:avLst/>
          </a:prstGeom>
        </p:spPr>
      </p:pic>
      <p:pic>
        <p:nvPicPr>
          <p:cNvPr id="24" name="Picture 23" descr="A picture containing clock, object, dark, sitting&#10;&#10;Description automatically generated">
            <a:extLst>
              <a:ext uri="{FF2B5EF4-FFF2-40B4-BE49-F238E27FC236}">
                <a16:creationId xmlns:a16="http://schemas.microsoft.com/office/drawing/2014/main" id="{5B6ADDA6-27C5-4760-B6D6-F3E5A15B1FC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2880" y="4969801"/>
            <a:ext cx="2209643" cy="324081"/>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AC1D51DC-9FB6-4038-9157-215D8C2645C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9777" y="1421402"/>
            <a:ext cx="1530103" cy="918062"/>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9C769E06-BD6D-450B-8735-C4F82C64C935}"/>
              </a:ext>
            </a:extLst>
          </p:cNvPr>
          <p:cNvPicPr>
            <a:picLocks noChangeAspect="1"/>
          </p:cNvPicPr>
          <p:nvPr/>
        </p:nvPicPr>
        <p:blipFill rotWithShape="1">
          <a:blip r:embed="rId11">
            <a:extLst>
              <a:ext uri="{28A0092B-C50C-407E-A947-70E740481C1C}">
                <a14:useLocalDpi xmlns:a14="http://schemas.microsoft.com/office/drawing/2010/main" val="0"/>
              </a:ext>
            </a:extLst>
          </a:blip>
          <a:srcRect t="10013" b="16506"/>
          <a:stretch/>
        </p:blipFill>
        <p:spPr>
          <a:xfrm>
            <a:off x="4053255" y="4546366"/>
            <a:ext cx="1538654" cy="846870"/>
          </a:xfrm>
          <a:prstGeom prst="rect">
            <a:avLst/>
          </a:prstGeom>
        </p:spPr>
      </p:pic>
      <p:pic>
        <p:nvPicPr>
          <p:cNvPr id="30" name="Picture 29" descr="A picture containing drawing, food&#10;&#10;Description automatically generated">
            <a:extLst>
              <a:ext uri="{FF2B5EF4-FFF2-40B4-BE49-F238E27FC236}">
                <a16:creationId xmlns:a16="http://schemas.microsoft.com/office/drawing/2014/main" id="{0758CC77-773A-4861-807E-C782490C5E4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905114" y="1277996"/>
            <a:ext cx="1727893" cy="966540"/>
          </a:xfrm>
          <a:prstGeom prst="rect">
            <a:avLst/>
          </a:prstGeom>
        </p:spPr>
      </p:pic>
      <p:pic>
        <p:nvPicPr>
          <p:cNvPr id="32" name="Picture 31" descr="A close up of a sign&#10;&#10;Description automatically generated">
            <a:extLst>
              <a:ext uri="{FF2B5EF4-FFF2-40B4-BE49-F238E27FC236}">
                <a16:creationId xmlns:a16="http://schemas.microsoft.com/office/drawing/2014/main" id="{0FFCF345-AF02-46C5-B219-EF18F90D12B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361137" y="4600190"/>
            <a:ext cx="1454725" cy="807107"/>
          </a:xfrm>
          <a:prstGeom prst="rect">
            <a:avLst/>
          </a:prstGeom>
        </p:spPr>
      </p:pic>
      <p:pic>
        <p:nvPicPr>
          <p:cNvPr id="34" name="Picture 33" descr="A picture containing drawing&#10;&#10;Description automatically generated">
            <a:extLst>
              <a:ext uri="{FF2B5EF4-FFF2-40B4-BE49-F238E27FC236}">
                <a16:creationId xmlns:a16="http://schemas.microsoft.com/office/drawing/2014/main" id="{913E35A5-3519-4C4A-AF6A-415C2992CF8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283066" y="1310732"/>
            <a:ext cx="1367187" cy="966540"/>
          </a:xfrm>
          <a:prstGeom prst="rect">
            <a:avLst/>
          </a:prstGeom>
        </p:spPr>
      </p:pic>
      <p:pic>
        <p:nvPicPr>
          <p:cNvPr id="38" name="Picture 37" descr="A picture containing drawing&#10;&#10;Description automatically generated">
            <a:extLst>
              <a:ext uri="{FF2B5EF4-FFF2-40B4-BE49-F238E27FC236}">
                <a16:creationId xmlns:a16="http://schemas.microsoft.com/office/drawing/2014/main" id="{8477B682-F918-461A-9A1A-ECC9B293727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29280" y="1288427"/>
            <a:ext cx="1534209" cy="1020946"/>
          </a:xfrm>
          <a:prstGeom prst="rect">
            <a:avLst/>
          </a:prstGeom>
        </p:spPr>
      </p:pic>
      <p:pic>
        <p:nvPicPr>
          <p:cNvPr id="40" name="Picture 39" descr="A picture containing drawing&#10;&#10;Description automatically generated">
            <a:extLst>
              <a:ext uri="{FF2B5EF4-FFF2-40B4-BE49-F238E27FC236}">
                <a16:creationId xmlns:a16="http://schemas.microsoft.com/office/drawing/2014/main" id="{21EB304D-40D8-4053-90AD-5E1E94CC00A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084703" y="1160777"/>
            <a:ext cx="933512" cy="1176225"/>
          </a:xfrm>
          <a:prstGeom prst="rect">
            <a:avLst/>
          </a:prstGeom>
        </p:spPr>
      </p:pic>
      <p:pic>
        <p:nvPicPr>
          <p:cNvPr id="44" name="Picture 43" descr="A close up of a logo&#10;&#10;Description automatically generated">
            <a:extLst>
              <a:ext uri="{FF2B5EF4-FFF2-40B4-BE49-F238E27FC236}">
                <a16:creationId xmlns:a16="http://schemas.microsoft.com/office/drawing/2014/main" id="{2C51D91A-66AE-42DC-AA42-33C75A2E812C}"/>
              </a:ext>
            </a:extLst>
          </p:cNvPr>
          <p:cNvPicPr>
            <a:picLocks noChangeAspect="1"/>
          </p:cNvPicPr>
          <p:nvPr/>
        </p:nvPicPr>
        <p:blipFill rotWithShape="1">
          <a:blip r:embed="rId17">
            <a:extLst>
              <a:ext uri="{28A0092B-C50C-407E-A947-70E740481C1C}">
                <a14:useLocalDpi xmlns:a14="http://schemas.microsoft.com/office/drawing/2010/main" val="0"/>
              </a:ext>
            </a:extLst>
          </a:blip>
          <a:srcRect l="12997" t="5367" r="4617" b="8092"/>
          <a:stretch/>
        </p:blipFill>
        <p:spPr>
          <a:xfrm>
            <a:off x="5886468" y="5568572"/>
            <a:ext cx="1658780" cy="1370533"/>
          </a:xfrm>
          <a:prstGeom prst="rect">
            <a:avLst/>
          </a:prstGeom>
        </p:spPr>
      </p:pic>
      <p:pic>
        <p:nvPicPr>
          <p:cNvPr id="46" name="Picture 45" descr="A picture containing drawing&#10;&#10;Description automatically generated">
            <a:extLst>
              <a:ext uri="{FF2B5EF4-FFF2-40B4-BE49-F238E27FC236}">
                <a16:creationId xmlns:a16="http://schemas.microsoft.com/office/drawing/2014/main" id="{2CEBEA09-5F26-406C-B997-28B123B2464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868403" y="4542908"/>
            <a:ext cx="1658779" cy="1103842"/>
          </a:xfrm>
          <a:prstGeom prst="rect">
            <a:avLst/>
          </a:prstGeom>
        </p:spPr>
      </p:pic>
      <p:pic>
        <p:nvPicPr>
          <p:cNvPr id="48" name="Picture 47" descr="A picture containing drawing&#10;&#10;Description automatically generated">
            <a:extLst>
              <a:ext uri="{FF2B5EF4-FFF2-40B4-BE49-F238E27FC236}">
                <a16:creationId xmlns:a16="http://schemas.microsoft.com/office/drawing/2014/main" id="{2B0CE0E7-DF4C-4BA3-9908-F79FE8B468A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209188" y="5444254"/>
            <a:ext cx="1149001" cy="1273072"/>
          </a:xfrm>
          <a:prstGeom prst="rect">
            <a:avLst/>
          </a:prstGeom>
        </p:spPr>
      </p:pic>
      <p:pic>
        <p:nvPicPr>
          <p:cNvPr id="52" name="Picture 51" descr="A picture containing drawing&#10;&#10;Description automatically generated">
            <a:extLst>
              <a:ext uri="{FF2B5EF4-FFF2-40B4-BE49-F238E27FC236}">
                <a16:creationId xmlns:a16="http://schemas.microsoft.com/office/drawing/2014/main" id="{BC056000-AF09-4025-813E-5003A4F85F8B}"/>
              </a:ext>
            </a:extLst>
          </p:cNvPr>
          <p:cNvPicPr>
            <a:picLocks noChangeAspect="1"/>
          </p:cNvPicPr>
          <p:nvPr/>
        </p:nvPicPr>
        <p:blipFill rotWithShape="1">
          <a:blip r:embed="rId20">
            <a:extLst>
              <a:ext uri="{28A0092B-C50C-407E-A947-70E740481C1C}">
                <a14:useLocalDpi xmlns:a14="http://schemas.microsoft.com/office/drawing/2010/main" val="0"/>
              </a:ext>
            </a:extLst>
          </a:blip>
          <a:srcRect l="24166" t="-1715" r="21931" b="1715"/>
          <a:stretch/>
        </p:blipFill>
        <p:spPr>
          <a:xfrm>
            <a:off x="2418785" y="5461121"/>
            <a:ext cx="1379491" cy="1175207"/>
          </a:xfrm>
          <a:prstGeom prst="rect">
            <a:avLst/>
          </a:prstGeom>
        </p:spPr>
      </p:pic>
      <p:pic>
        <p:nvPicPr>
          <p:cNvPr id="54" name="Picture 53" descr="A close up of a logo&#10;&#10;Description automatically generated">
            <a:extLst>
              <a:ext uri="{FF2B5EF4-FFF2-40B4-BE49-F238E27FC236}">
                <a16:creationId xmlns:a16="http://schemas.microsoft.com/office/drawing/2014/main" id="{397D839B-085E-4852-AFD9-33180FA04B96}"/>
              </a:ext>
            </a:extLst>
          </p:cNvPr>
          <p:cNvPicPr>
            <a:picLocks noChangeAspect="1"/>
          </p:cNvPicPr>
          <p:nvPr/>
        </p:nvPicPr>
        <p:blipFill rotWithShape="1">
          <a:blip r:embed="rId21">
            <a:extLst>
              <a:ext uri="{28A0092B-C50C-407E-A947-70E740481C1C}">
                <a14:useLocalDpi xmlns:a14="http://schemas.microsoft.com/office/drawing/2010/main" val="0"/>
              </a:ext>
            </a:extLst>
          </a:blip>
          <a:srcRect t="30927" b="26738"/>
          <a:stretch/>
        </p:blipFill>
        <p:spPr>
          <a:xfrm>
            <a:off x="214536" y="5609100"/>
            <a:ext cx="1767352" cy="703513"/>
          </a:xfrm>
          <a:prstGeom prst="rect">
            <a:avLst/>
          </a:prstGeom>
        </p:spPr>
      </p:pic>
      <p:pic>
        <p:nvPicPr>
          <p:cNvPr id="58" name="Picture 57" descr="A drawing of a person&#10;&#10;Description automatically generated">
            <a:extLst>
              <a:ext uri="{FF2B5EF4-FFF2-40B4-BE49-F238E27FC236}">
                <a16:creationId xmlns:a16="http://schemas.microsoft.com/office/drawing/2014/main" id="{B4E1F8D3-43AF-46DB-9570-5AE62AC0D502}"/>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149219" y="5788981"/>
            <a:ext cx="1129796" cy="847347"/>
          </a:xfrm>
          <a:prstGeom prst="rect">
            <a:avLst/>
          </a:prstGeom>
        </p:spPr>
      </p:pic>
      <p:pic>
        <p:nvPicPr>
          <p:cNvPr id="60" name="Picture 59" descr="A picture containing ball, room, food, drawing&#10;&#10;Description automatically generated">
            <a:extLst>
              <a:ext uri="{FF2B5EF4-FFF2-40B4-BE49-F238E27FC236}">
                <a16:creationId xmlns:a16="http://schemas.microsoft.com/office/drawing/2014/main" id="{5CEE66BA-17AE-457B-AD34-D141E52C7674}"/>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087708" y="5475729"/>
            <a:ext cx="1466815" cy="1210122"/>
          </a:xfrm>
          <a:prstGeom prst="rect">
            <a:avLst/>
          </a:prstGeom>
        </p:spPr>
      </p:pic>
      <p:pic>
        <p:nvPicPr>
          <p:cNvPr id="11" name="Picture 10" descr="A close up of a logo&#10;&#10;Description automatically generated">
            <a:extLst>
              <a:ext uri="{FF2B5EF4-FFF2-40B4-BE49-F238E27FC236}">
                <a16:creationId xmlns:a16="http://schemas.microsoft.com/office/drawing/2014/main" id="{C55A5C4D-7A8A-487B-AC9B-452D997D2774}"/>
              </a:ext>
            </a:extLst>
          </p:cNvPr>
          <p:cNvPicPr>
            <a:picLocks noChangeAspect="1"/>
          </p:cNvPicPr>
          <p:nvPr/>
        </p:nvPicPr>
        <p:blipFill rotWithShape="1">
          <a:blip r:embed="rId24">
            <a:extLst>
              <a:ext uri="{28A0092B-C50C-407E-A947-70E740481C1C}">
                <a14:useLocalDpi xmlns:a14="http://schemas.microsoft.com/office/drawing/2010/main" val="0"/>
              </a:ext>
            </a:extLst>
          </a:blip>
          <a:srcRect t="10893" b="14085"/>
          <a:stretch/>
        </p:blipFill>
        <p:spPr>
          <a:xfrm>
            <a:off x="6003465" y="1181167"/>
            <a:ext cx="1461030" cy="1096105"/>
          </a:xfrm>
          <a:prstGeom prst="rect">
            <a:avLst/>
          </a:prstGeom>
        </p:spPr>
      </p:pic>
      <p:pic>
        <p:nvPicPr>
          <p:cNvPr id="15" name="Picture 14" descr="A close up of a logo&#10;&#10;Description automatically generated">
            <a:extLst>
              <a:ext uri="{FF2B5EF4-FFF2-40B4-BE49-F238E27FC236}">
                <a16:creationId xmlns:a16="http://schemas.microsoft.com/office/drawing/2014/main" id="{994F3F12-FACB-4780-8D7B-238D51E180F3}"/>
              </a:ext>
            </a:extLst>
          </p:cNvPr>
          <p:cNvPicPr>
            <a:picLocks noChangeAspect="1"/>
          </p:cNvPicPr>
          <p:nvPr/>
        </p:nvPicPr>
        <p:blipFill rotWithShape="1">
          <a:blip r:embed="rId25">
            <a:extLst>
              <a:ext uri="{28A0092B-C50C-407E-A947-70E740481C1C}">
                <a14:useLocalDpi xmlns:a14="http://schemas.microsoft.com/office/drawing/2010/main" val="0"/>
              </a:ext>
            </a:extLst>
          </a:blip>
          <a:srcRect t="27481" b="30247"/>
          <a:stretch/>
        </p:blipFill>
        <p:spPr>
          <a:xfrm>
            <a:off x="9749552" y="4535298"/>
            <a:ext cx="2143125" cy="905934"/>
          </a:xfrm>
          <a:prstGeom prst="rect">
            <a:avLst/>
          </a:prstGeom>
        </p:spPr>
      </p:pic>
      <p:pic>
        <p:nvPicPr>
          <p:cNvPr id="19" name="Picture 18" descr="A screenshot of a cell phone&#10;&#10;Description automatically generated">
            <a:extLst>
              <a:ext uri="{FF2B5EF4-FFF2-40B4-BE49-F238E27FC236}">
                <a16:creationId xmlns:a16="http://schemas.microsoft.com/office/drawing/2014/main" id="{41D7A30D-9F9E-42A9-ABA4-EBE19F2D2B20}"/>
              </a:ext>
            </a:extLst>
          </p:cNvPr>
          <p:cNvPicPr>
            <a:picLocks noChangeAspect="1"/>
          </p:cNvPicPr>
          <p:nvPr/>
        </p:nvPicPr>
        <p:blipFill rotWithShape="1">
          <a:blip r:embed="rId26">
            <a:extLst>
              <a:ext uri="{28A0092B-C50C-407E-A947-70E740481C1C}">
                <a14:useLocalDpi xmlns:a14="http://schemas.microsoft.com/office/drawing/2010/main" val="0"/>
              </a:ext>
            </a:extLst>
          </a:blip>
          <a:srcRect l="12857" t="8024" r="14127" b="11482"/>
          <a:stretch/>
        </p:blipFill>
        <p:spPr>
          <a:xfrm>
            <a:off x="7922660" y="4558317"/>
            <a:ext cx="1457773" cy="1033118"/>
          </a:xfrm>
          <a:prstGeom prst="rect">
            <a:avLst/>
          </a:prstGeom>
        </p:spPr>
      </p:pic>
    </p:spTree>
    <p:extLst>
      <p:ext uri="{BB962C8B-B14F-4D97-AF65-F5344CB8AC3E}">
        <p14:creationId xmlns:p14="http://schemas.microsoft.com/office/powerpoint/2010/main" val="26933935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Placeholder 106"/>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t="12590" b="12590"/>
          <a:stretch/>
        </p:blipFill>
        <p:spPr/>
      </p:pic>
      <p:sp>
        <p:nvSpPr>
          <p:cNvPr id="108" name="Rectangle 107"/>
          <p:cNvSpPr/>
          <p:nvPr/>
        </p:nvSpPr>
        <p:spPr>
          <a:xfrm>
            <a:off x="0" y="1"/>
            <a:ext cx="12192000" cy="1204686"/>
          </a:xfrm>
          <a:prstGeom prst="rect">
            <a:avLst/>
          </a:prstGeom>
          <a:solidFill>
            <a:srgbClr val="8AAAE5">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3235998" y="552647"/>
            <a:ext cx="5720003" cy="492443"/>
            <a:chOff x="1578422" y="552646"/>
            <a:chExt cx="5720003" cy="492443"/>
          </a:xfrm>
        </p:grpSpPr>
        <p:sp>
          <p:nvSpPr>
            <p:cNvPr id="16" name="Line 6"/>
            <p:cNvSpPr>
              <a:spLocks noChangeShapeType="1"/>
            </p:cNvSpPr>
            <p:nvPr/>
          </p:nvSpPr>
          <p:spPr bwMode="auto">
            <a:xfrm>
              <a:off x="4256655" y="1024552"/>
              <a:ext cx="363538" cy="0"/>
            </a:xfrm>
            <a:prstGeom prst="line">
              <a:avLst/>
            </a:prstGeom>
            <a:noFill/>
            <a:ln w="571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7" name="TextBox 16"/>
            <p:cNvSpPr txBox="1"/>
            <p:nvPr/>
          </p:nvSpPr>
          <p:spPr>
            <a:xfrm>
              <a:off x="1578422" y="552646"/>
              <a:ext cx="5720003" cy="492443"/>
            </a:xfrm>
            <a:prstGeom prst="rect">
              <a:avLst/>
            </a:prstGeom>
            <a:noFill/>
            <a:ln w="6350">
              <a:noFill/>
              <a:prstDash val="dash"/>
            </a:ln>
          </p:spPr>
          <p:txBody>
            <a:bodyPr wrap="square" lIns="0" tIns="0" rIns="0" bIns="0" rtlCol="0">
              <a:spAutoFit/>
            </a:bodyPr>
            <a:lstStyle/>
            <a:p>
              <a:pPr algn="ctr"/>
              <a:r>
                <a:rPr lang="en-US" sz="3200" b="1" dirty="0">
                  <a:solidFill>
                    <a:schemeClr val="bg1"/>
                  </a:solidFill>
                </a:rPr>
                <a:t>PRODUCT APPLICATION</a:t>
              </a:r>
              <a:endParaRPr lang="en-US" sz="3200" dirty="0">
                <a:solidFill>
                  <a:schemeClr val="bg1"/>
                </a:solidFill>
              </a:endParaRPr>
            </a:p>
          </p:txBody>
        </p:sp>
      </p:grpSp>
      <p:sp>
        <p:nvSpPr>
          <p:cNvPr id="18" name="Rectangle 17">
            <a:extLst>
              <a:ext uri="{FF2B5EF4-FFF2-40B4-BE49-F238E27FC236}">
                <a16:creationId xmlns:a16="http://schemas.microsoft.com/office/drawing/2014/main" id="{7E6AA814-6AA8-43D6-A62C-2EAC4C36B5AA}"/>
              </a:ext>
            </a:extLst>
          </p:cNvPr>
          <p:cNvSpPr/>
          <p:nvPr/>
        </p:nvSpPr>
        <p:spPr>
          <a:xfrm>
            <a:off x="501161" y="1651984"/>
            <a:ext cx="2325343" cy="2172670"/>
          </a:xfrm>
          <a:prstGeom prst="rect">
            <a:avLst/>
          </a:prstGeom>
          <a:noFill/>
          <a:ln w="762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0" name="Rectangle 49">
            <a:extLst>
              <a:ext uri="{FF2B5EF4-FFF2-40B4-BE49-F238E27FC236}">
                <a16:creationId xmlns:a16="http://schemas.microsoft.com/office/drawing/2014/main" id="{8A82BEF4-3296-4A56-96C9-16D578DF1278}"/>
              </a:ext>
            </a:extLst>
          </p:cNvPr>
          <p:cNvSpPr/>
          <p:nvPr/>
        </p:nvSpPr>
        <p:spPr>
          <a:xfrm>
            <a:off x="3417275" y="1654915"/>
            <a:ext cx="2325343" cy="2172670"/>
          </a:xfrm>
          <a:prstGeom prst="rect">
            <a:avLst/>
          </a:prstGeom>
          <a:noFill/>
          <a:ln w="762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Rectangle 51">
            <a:extLst>
              <a:ext uri="{FF2B5EF4-FFF2-40B4-BE49-F238E27FC236}">
                <a16:creationId xmlns:a16="http://schemas.microsoft.com/office/drawing/2014/main" id="{739B867E-CA4A-4A51-AC31-099618D9C32C}"/>
              </a:ext>
            </a:extLst>
          </p:cNvPr>
          <p:cNvSpPr/>
          <p:nvPr/>
        </p:nvSpPr>
        <p:spPr>
          <a:xfrm>
            <a:off x="6333389" y="1649054"/>
            <a:ext cx="2325343" cy="2172670"/>
          </a:xfrm>
          <a:prstGeom prst="rect">
            <a:avLst/>
          </a:prstGeom>
          <a:noFill/>
          <a:ln w="762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Rectangle 54">
            <a:extLst>
              <a:ext uri="{FF2B5EF4-FFF2-40B4-BE49-F238E27FC236}">
                <a16:creationId xmlns:a16="http://schemas.microsoft.com/office/drawing/2014/main" id="{E8837E62-B992-407F-AF62-E4E2DD414CB6}"/>
              </a:ext>
            </a:extLst>
          </p:cNvPr>
          <p:cNvSpPr/>
          <p:nvPr/>
        </p:nvSpPr>
        <p:spPr>
          <a:xfrm>
            <a:off x="9249503" y="1660778"/>
            <a:ext cx="2325343" cy="2172670"/>
          </a:xfrm>
          <a:prstGeom prst="rect">
            <a:avLst/>
          </a:prstGeom>
          <a:noFill/>
          <a:ln w="762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4" name="TextBox 73">
            <a:extLst>
              <a:ext uri="{FF2B5EF4-FFF2-40B4-BE49-F238E27FC236}">
                <a16:creationId xmlns:a16="http://schemas.microsoft.com/office/drawing/2014/main" id="{C28861CC-0B68-448E-81C3-0BE5D8D3DEC4}"/>
              </a:ext>
            </a:extLst>
          </p:cNvPr>
          <p:cNvSpPr txBox="1"/>
          <p:nvPr/>
        </p:nvSpPr>
        <p:spPr>
          <a:xfrm>
            <a:off x="626957" y="3861341"/>
            <a:ext cx="2032017" cy="2908489"/>
          </a:xfrm>
          <a:prstGeom prst="rect">
            <a:avLst/>
          </a:prstGeom>
          <a:noFill/>
          <a:ln w="6350">
            <a:noFill/>
            <a:prstDash val="dash"/>
          </a:ln>
        </p:spPr>
        <p:txBody>
          <a:bodyPr wrap="square" lIns="0" tIns="0" rIns="0" bIns="0" rtlCol="0">
            <a:spAutoFit/>
          </a:bodyPr>
          <a:lstStyle/>
          <a:p>
            <a:r>
              <a:rPr lang="en-IN" sz="1200" b="1" dirty="0"/>
              <a:t>Multi Spring ,Bi-Directional Seal RS-1001 series</a:t>
            </a:r>
          </a:p>
          <a:p>
            <a:endParaRPr lang="en-IN" sz="1100" dirty="0"/>
          </a:p>
          <a:p>
            <a:r>
              <a:rPr lang="en-IN" sz="1100" dirty="0"/>
              <a:t>Sizes available from 12mm to 200mm</a:t>
            </a:r>
          </a:p>
          <a:p>
            <a:endParaRPr lang="en-IN" sz="1100" dirty="0"/>
          </a:p>
          <a:p>
            <a:r>
              <a:rPr lang="en-IN" sz="1100" dirty="0"/>
              <a:t>Seal Faces Available Carbon, Silicon Carbide , Tungsten Carbide</a:t>
            </a:r>
          </a:p>
          <a:p>
            <a:endParaRPr lang="en-IN" sz="1100" dirty="0"/>
          </a:p>
          <a:p>
            <a:r>
              <a:rPr lang="en-IN" sz="1100" dirty="0"/>
              <a:t>Secondary Packings, NBR,EPDM,VITON,PTFE </a:t>
            </a:r>
          </a:p>
          <a:p>
            <a:endParaRPr lang="en-IN" sz="1100" dirty="0"/>
          </a:p>
          <a:p>
            <a:r>
              <a:rPr lang="en-IN" sz="1100" dirty="0"/>
              <a:t>Suitable for Clear Liquids</a:t>
            </a:r>
          </a:p>
          <a:p>
            <a:endParaRPr lang="en-IN" sz="1100" dirty="0"/>
          </a:p>
          <a:p>
            <a:r>
              <a:rPr lang="en-IN" sz="1100" dirty="0"/>
              <a:t>Suitable </a:t>
            </a:r>
            <a:r>
              <a:rPr lang="en-IN" sz="1100" dirty="0" err="1"/>
              <a:t>Upto</a:t>
            </a:r>
            <a:r>
              <a:rPr lang="en-IN" sz="1100" dirty="0"/>
              <a:t> 7 Kg/CM2 Pressure</a:t>
            </a:r>
          </a:p>
          <a:p>
            <a:endParaRPr lang="en-IN" sz="1100" dirty="0"/>
          </a:p>
          <a:p>
            <a:r>
              <a:rPr lang="en-IN" sz="1100" dirty="0"/>
              <a:t>Temperature Maximum 150 Deg.</a:t>
            </a:r>
          </a:p>
        </p:txBody>
      </p:sp>
      <p:sp>
        <p:nvSpPr>
          <p:cNvPr id="80" name="TextBox 79">
            <a:extLst>
              <a:ext uri="{FF2B5EF4-FFF2-40B4-BE49-F238E27FC236}">
                <a16:creationId xmlns:a16="http://schemas.microsoft.com/office/drawing/2014/main" id="{390EFCEE-CD40-4823-934E-453C47342F44}"/>
              </a:ext>
            </a:extLst>
          </p:cNvPr>
          <p:cNvSpPr txBox="1"/>
          <p:nvPr/>
        </p:nvSpPr>
        <p:spPr>
          <a:xfrm>
            <a:off x="9278073" y="3890651"/>
            <a:ext cx="2231059" cy="2908489"/>
          </a:xfrm>
          <a:prstGeom prst="rect">
            <a:avLst/>
          </a:prstGeom>
          <a:noFill/>
          <a:ln w="6350">
            <a:noFill/>
            <a:prstDash val="dash"/>
          </a:ln>
        </p:spPr>
        <p:txBody>
          <a:bodyPr wrap="square" lIns="0" tIns="0" rIns="0" bIns="0" rtlCol="0">
            <a:spAutoFit/>
          </a:bodyPr>
          <a:lstStyle/>
          <a:p>
            <a:r>
              <a:rPr lang="en-IN" sz="1200" b="1" dirty="0"/>
              <a:t>Single Cartridge seal ,Bi-Directional Seal RS-1001-Cart series</a:t>
            </a:r>
          </a:p>
          <a:p>
            <a:r>
              <a:rPr lang="en-IN" sz="1100" dirty="0"/>
              <a:t> </a:t>
            </a:r>
          </a:p>
          <a:p>
            <a:r>
              <a:rPr lang="en-IN" sz="1100" dirty="0"/>
              <a:t>Sizes available from 12mm to 200mm</a:t>
            </a:r>
          </a:p>
          <a:p>
            <a:endParaRPr lang="en-IN" sz="1100" dirty="0"/>
          </a:p>
          <a:p>
            <a:r>
              <a:rPr lang="en-IN" sz="1100" dirty="0"/>
              <a:t>Seal Faces Available Carbon, Silicon Carbide , Tungsten Carbide</a:t>
            </a:r>
          </a:p>
          <a:p>
            <a:r>
              <a:rPr lang="en-IN" sz="1100" dirty="0"/>
              <a:t> 	</a:t>
            </a:r>
          </a:p>
          <a:p>
            <a:r>
              <a:rPr lang="en-IN" sz="1100" dirty="0"/>
              <a:t>Secondary Packings, NBR,EPDM,VITON</a:t>
            </a:r>
          </a:p>
          <a:p>
            <a:r>
              <a:rPr lang="en-IN" sz="1100" dirty="0"/>
              <a:t> </a:t>
            </a:r>
          </a:p>
          <a:p>
            <a:r>
              <a:rPr lang="en-IN" sz="1100" dirty="0"/>
              <a:t>Suitable for Clear Liquids, Dirty Liquids ,Hi viscous Liquids </a:t>
            </a:r>
          </a:p>
          <a:p>
            <a:br>
              <a:rPr lang="en-IN" sz="1100" dirty="0"/>
            </a:br>
            <a:r>
              <a:rPr lang="en-IN" sz="1100" dirty="0"/>
              <a:t>Suitable </a:t>
            </a:r>
            <a:r>
              <a:rPr lang="en-IN" sz="1100" dirty="0" err="1"/>
              <a:t>Upto</a:t>
            </a:r>
            <a:r>
              <a:rPr lang="en-IN" sz="1100" dirty="0"/>
              <a:t> 7 Kg/CM2 Pressure</a:t>
            </a:r>
          </a:p>
          <a:p>
            <a:r>
              <a:rPr lang="en-IN" sz="1100" dirty="0"/>
              <a:t>Not suitable for Vacuum application</a:t>
            </a:r>
          </a:p>
          <a:p>
            <a:r>
              <a:rPr lang="en-IN" sz="1100" dirty="0"/>
              <a:t>	</a:t>
            </a:r>
          </a:p>
          <a:p>
            <a:r>
              <a:rPr lang="en-IN" sz="1100" dirty="0"/>
              <a:t>Temperature Maximum 100 Deg.</a:t>
            </a:r>
          </a:p>
        </p:txBody>
      </p:sp>
      <p:sp>
        <p:nvSpPr>
          <p:cNvPr id="81" name="TextBox 80">
            <a:extLst>
              <a:ext uri="{FF2B5EF4-FFF2-40B4-BE49-F238E27FC236}">
                <a16:creationId xmlns:a16="http://schemas.microsoft.com/office/drawing/2014/main" id="{E52EA547-2266-47A6-AC12-20E995C46885}"/>
              </a:ext>
            </a:extLst>
          </p:cNvPr>
          <p:cNvSpPr txBox="1"/>
          <p:nvPr/>
        </p:nvSpPr>
        <p:spPr>
          <a:xfrm>
            <a:off x="6452361" y="3893585"/>
            <a:ext cx="2422010" cy="2908489"/>
          </a:xfrm>
          <a:prstGeom prst="rect">
            <a:avLst/>
          </a:prstGeom>
          <a:noFill/>
          <a:ln w="6350">
            <a:noFill/>
            <a:prstDash val="dash"/>
          </a:ln>
        </p:spPr>
        <p:txBody>
          <a:bodyPr wrap="square" lIns="0" tIns="0" rIns="0" bIns="0" rtlCol="0">
            <a:spAutoFit/>
          </a:bodyPr>
          <a:lstStyle/>
          <a:p>
            <a:r>
              <a:rPr lang="en-IN" sz="1200" b="1" dirty="0"/>
              <a:t>Double Cartridge seal ,Bi-Directional Seal RS-1001-Cart series</a:t>
            </a:r>
          </a:p>
          <a:p>
            <a:r>
              <a:rPr lang="en-IN" sz="1100" dirty="0"/>
              <a:t> </a:t>
            </a:r>
          </a:p>
          <a:p>
            <a:r>
              <a:rPr lang="en-IN" sz="1100" dirty="0"/>
              <a:t>Sizes available from 19mm to 200mm</a:t>
            </a:r>
          </a:p>
          <a:p>
            <a:r>
              <a:rPr lang="en-IN" sz="1100" dirty="0"/>
              <a:t>	</a:t>
            </a:r>
          </a:p>
          <a:p>
            <a:r>
              <a:rPr lang="en-IN" sz="1100" dirty="0"/>
              <a:t>Seal Faces Available Carbon, Silicon Carbide , Tungsten Carbide</a:t>
            </a:r>
          </a:p>
          <a:p>
            <a:r>
              <a:rPr lang="en-IN" sz="1100" dirty="0"/>
              <a:t> 	</a:t>
            </a:r>
          </a:p>
          <a:p>
            <a:r>
              <a:rPr lang="en-IN" sz="1100" dirty="0"/>
              <a:t>Secondary Packings, NBR,EPDM,VITON</a:t>
            </a:r>
          </a:p>
          <a:p>
            <a:r>
              <a:rPr lang="en-IN" sz="1100" dirty="0"/>
              <a:t> </a:t>
            </a:r>
          </a:p>
          <a:p>
            <a:r>
              <a:rPr lang="en-IN" sz="1100" dirty="0"/>
              <a:t>Suitable for Clear Liquids, Dirty Liquids ,Hi viscus Liquids </a:t>
            </a:r>
          </a:p>
          <a:p>
            <a:br>
              <a:rPr lang="en-IN" sz="1100" dirty="0"/>
            </a:br>
            <a:r>
              <a:rPr lang="en-IN" sz="1100" dirty="0"/>
              <a:t>Suitable </a:t>
            </a:r>
            <a:r>
              <a:rPr lang="en-IN" sz="1100" dirty="0" err="1"/>
              <a:t>Upto</a:t>
            </a:r>
            <a:r>
              <a:rPr lang="en-IN" sz="1100" dirty="0"/>
              <a:t> 7 Kg/CM2 Pressure</a:t>
            </a:r>
          </a:p>
          <a:p>
            <a:r>
              <a:rPr lang="en-IN" sz="1100" dirty="0"/>
              <a:t>Suitable for Perfect Vacuum application</a:t>
            </a:r>
          </a:p>
          <a:p>
            <a:r>
              <a:rPr lang="en-IN" sz="1100" dirty="0"/>
              <a:t>	</a:t>
            </a:r>
          </a:p>
          <a:p>
            <a:r>
              <a:rPr lang="en-IN" sz="1100" dirty="0"/>
              <a:t>Temperature Maximum 150 Deg.</a:t>
            </a:r>
          </a:p>
        </p:txBody>
      </p:sp>
      <p:pic>
        <p:nvPicPr>
          <p:cNvPr id="5" name="Picture 4" descr="A picture containing book&#10;&#10;Description automatically generated">
            <a:extLst>
              <a:ext uri="{FF2B5EF4-FFF2-40B4-BE49-F238E27FC236}">
                <a16:creationId xmlns:a16="http://schemas.microsoft.com/office/drawing/2014/main" id="{993BF4FD-75E2-4435-AB02-75D0F5F315EA}"/>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18000"/>
                    </a14:imgEffect>
                  </a14:imgLayer>
                </a14:imgProps>
              </a:ext>
              <a:ext uri="{28A0092B-C50C-407E-A947-70E740481C1C}">
                <a14:useLocalDpi xmlns:a14="http://schemas.microsoft.com/office/drawing/2010/main" val="0"/>
              </a:ext>
            </a:extLst>
          </a:blip>
          <a:srcRect l="8025" t="4735" r="9613" b="8216"/>
          <a:stretch/>
        </p:blipFill>
        <p:spPr>
          <a:xfrm>
            <a:off x="6452360" y="1732855"/>
            <a:ext cx="2085222" cy="2021460"/>
          </a:xfrm>
          <a:prstGeom prst="rect">
            <a:avLst/>
          </a:prstGeom>
        </p:spPr>
      </p:pic>
      <p:pic>
        <p:nvPicPr>
          <p:cNvPr id="9" name="Picture 8" descr="A picture containing book, sitting, laying&#10;&#10;Description automatically generated">
            <a:extLst>
              <a:ext uri="{FF2B5EF4-FFF2-40B4-BE49-F238E27FC236}">
                <a16:creationId xmlns:a16="http://schemas.microsoft.com/office/drawing/2014/main" id="{077FF6EF-96CA-4260-8D83-FC1EE097199A}"/>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val="0"/>
              </a:ext>
            </a:extLst>
          </a:blip>
          <a:srcRect l="15143" r="13165" b="7230"/>
          <a:stretch/>
        </p:blipFill>
        <p:spPr>
          <a:xfrm>
            <a:off x="9335906" y="1722346"/>
            <a:ext cx="2173225" cy="2032339"/>
          </a:xfrm>
          <a:prstGeom prst="rect">
            <a:avLst/>
          </a:prstGeom>
        </p:spPr>
      </p:pic>
      <p:pic>
        <p:nvPicPr>
          <p:cNvPr id="13" name="Picture 12" descr="A close up of a sign&#10;&#10;Description automatically generated">
            <a:extLst>
              <a:ext uri="{FF2B5EF4-FFF2-40B4-BE49-F238E27FC236}">
                <a16:creationId xmlns:a16="http://schemas.microsoft.com/office/drawing/2014/main" id="{FE21A2AB-7D04-4A26-8117-0BB2391921FD}"/>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4000"/>
                    </a14:imgEffect>
                  </a14:imgLayer>
                </a14:imgProps>
              </a:ext>
              <a:ext uri="{28A0092B-C50C-407E-A947-70E740481C1C}">
                <a14:useLocalDpi xmlns:a14="http://schemas.microsoft.com/office/drawing/2010/main" val="0"/>
              </a:ext>
            </a:extLst>
          </a:blip>
          <a:srcRect l="2713" r="13130" b="10756"/>
          <a:stretch/>
        </p:blipFill>
        <p:spPr>
          <a:xfrm>
            <a:off x="564320" y="1722346"/>
            <a:ext cx="2204650" cy="2031969"/>
          </a:xfrm>
          <a:prstGeom prst="rect">
            <a:avLst/>
          </a:prstGeom>
        </p:spPr>
      </p:pic>
      <p:sp>
        <p:nvSpPr>
          <p:cNvPr id="45" name="TextBox 44">
            <a:extLst>
              <a:ext uri="{FF2B5EF4-FFF2-40B4-BE49-F238E27FC236}">
                <a16:creationId xmlns:a16="http://schemas.microsoft.com/office/drawing/2014/main" id="{7D6F3EC6-FBC0-4A96-A74C-AA4BAF219726}"/>
              </a:ext>
            </a:extLst>
          </p:cNvPr>
          <p:cNvSpPr txBox="1"/>
          <p:nvPr/>
        </p:nvSpPr>
        <p:spPr>
          <a:xfrm>
            <a:off x="3464459" y="3842507"/>
            <a:ext cx="2325344" cy="3154710"/>
          </a:xfrm>
          <a:prstGeom prst="rect">
            <a:avLst/>
          </a:prstGeom>
          <a:noFill/>
        </p:spPr>
        <p:txBody>
          <a:bodyPr wrap="square" rtlCol="0">
            <a:spAutoFit/>
          </a:bodyPr>
          <a:lstStyle/>
          <a:p>
            <a:r>
              <a:rPr lang="en-IN" sz="1200" b="1" dirty="0"/>
              <a:t>Single Spring ,Bi-Directional Seal RS-2005-CL series</a:t>
            </a:r>
          </a:p>
          <a:p>
            <a:endParaRPr lang="en-IN" sz="1100" dirty="0"/>
          </a:p>
          <a:p>
            <a:r>
              <a:rPr lang="en-IN" sz="1100" dirty="0"/>
              <a:t>Sizes available from 12mm to 100mm</a:t>
            </a:r>
          </a:p>
          <a:p>
            <a:endParaRPr lang="en-IN" sz="1100" dirty="0"/>
          </a:p>
          <a:p>
            <a:r>
              <a:rPr lang="en-IN" sz="1100" dirty="0"/>
              <a:t>Seal Faces Available Carbon, Silicon Carbide , Tungsten Carbide</a:t>
            </a:r>
          </a:p>
          <a:p>
            <a:endParaRPr lang="en-IN" sz="1100" dirty="0"/>
          </a:p>
          <a:p>
            <a:r>
              <a:rPr lang="en-IN" sz="1100" dirty="0"/>
              <a:t>Secondary Packings, NBR,EPDM,VITON,PTFE</a:t>
            </a:r>
          </a:p>
          <a:p>
            <a:endParaRPr lang="en-IN" sz="1100" dirty="0"/>
          </a:p>
          <a:p>
            <a:r>
              <a:rPr lang="en-IN" sz="1100" dirty="0"/>
              <a:t>Suitable for Clear Liquids, Dirty Liquids ,Hi viscous Liquids </a:t>
            </a:r>
          </a:p>
          <a:p>
            <a:endParaRPr lang="en-IN" sz="1100" dirty="0"/>
          </a:p>
          <a:p>
            <a:r>
              <a:rPr lang="en-IN" sz="1100" dirty="0"/>
              <a:t>Suitable </a:t>
            </a:r>
            <a:r>
              <a:rPr lang="en-IN" sz="1100" dirty="0" err="1"/>
              <a:t>Upto</a:t>
            </a:r>
            <a:r>
              <a:rPr lang="en-IN" sz="1100" dirty="0"/>
              <a:t> 7 Kg/CM2 Pressure</a:t>
            </a:r>
          </a:p>
          <a:p>
            <a:endParaRPr lang="en-IN" sz="1100" dirty="0"/>
          </a:p>
          <a:p>
            <a:r>
              <a:rPr lang="en-IN" sz="1100" dirty="0"/>
              <a:t>Temperature Maximum 150 Deg.</a:t>
            </a:r>
          </a:p>
          <a:p>
            <a:endParaRPr lang="en-IN" sz="1000" dirty="0"/>
          </a:p>
        </p:txBody>
      </p:sp>
      <p:pic>
        <p:nvPicPr>
          <p:cNvPr id="19" name="Picture 18" descr="A picture containing pair, motorcycle, laying&#10;&#10;Description automatically generated">
            <a:extLst>
              <a:ext uri="{FF2B5EF4-FFF2-40B4-BE49-F238E27FC236}">
                <a16:creationId xmlns:a16="http://schemas.microsoft.com/office/drawing/2014/main" id="{B7F3D5D2-2039-4D55-9638-5F2EABCACB58}"/>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8000"/>
                    </a14:imgEffect>
                  </a14:imgLayer>
                </a14:imgProps>
              </a:ext>
              <a:ext uri="{28A0092B-C50C-407E-A947-70E740481C1C}">
                <a14:useLocalDpi xmlns:a14="http://schemas.microsoft.com/office/drawing/2010/main" val="0"/>
              </a:ext>
            </a:extLst>
          </a:blip>
          <a:stretch>
            <a:fillRect/>
          </a:stretch>
        </p:blipFill>
        <p:spPr>
          <a:xfrm>
            <a:off x="3465588" y="1749672"/>
            <a:ext cx="2207737" cy="1987826"/>
          </a:xfrm>
          <a:prstGeom prst="rect">
            <a:avLst/>
          </a:prstGeom>
        </p:spPr>
      </p:pic>
    </p:spTree>
    <p:extLst>
      <p:ext uri="{BB962C8B-B14F-4D97-AF65-F5344CB8AC3E}">
        <p14:creationId xmlns:p14="http://schemas.microsoft.com/office/powerpoint/2010/main" val="316890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Placeholder 106"/>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t="12590" b="12590"/>
          <a:stretch/>
        </p:blipFill>
        <p:spPr/>
      </p:pic>
      <p:sp>
        <p:nvSpPr>
          <p:cNvPr id="108" name="Rectangle 107"/>
          <p:cNvSpPr/>
          <p:nvPr/>
        </p:nvSpPr>
        <p:spPr>
          <a:xfrm>
            <a:off x="0" y="1"/>
            <a:ext cx="12192000" cy="1204686"/>
          </a:xfrm>
          <a:prstGeom prst="rect">
            <a:avLst/>
          </a:prstGeom>
          <a:solidFill>
            <a:srgbClr val="8AAAE5">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Line 6"/>
          <p:cNvSpPr>
            <a:spLocks noChangeShapeType="1"/>
          </p:cNvSpPr>
          <p:nvPr/>
        </p:nvSpPr>
        <p:spPr bwMode="auto">
          <a:xfrm>
            <a:off x="5914231" y="1024553"/>
            <a:ext cx="363538" cy="0"/>
          </a:xfrm>
          <a:prstGeom prst="line">
            <a:avLst/>
          </a:prstGeom>
          <a:noFill/>
          <a:ln w="571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50" name="Rectangle 49">
            <a:extLst>
              <a:ext uri="{FF2B5EF4-FFF2-40B4-BE49-F238E27FC236}">
                <a16:creationId xmlns:a16="http://schemas.microsoft.com/office/drawing/2014/main" id="{8A82BEF4-3296-4A56-96C9-16D578DF1278}"/>
              </a:ext>
            </a:extLst>
          </p:cNvPr>
          <p:cNvSpPr/>
          <p:nvPr/>
        </p:nvSpPr>
        <p:spPr>
          <a:xfrm>
            <a:off x="4798810" y="1654914"/>
            <a:ext cx="2158578" cy="1992747"/>
          </a:xfrm>
          <a:prstGeom prst="rect">
            <a:avLst/>
          </a:prstGeom>
          <a:noFill/>
          <a:ln w="762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8" name="Picture 7" descr="A picture containing food, bottle&#10;&#10;Description automatically generated">
            <a:extLst>
              <a:ext uri="{FF2B5EF4-FFF2-40B4-BE49-F238E27FC236}">
                <a16:creationId xmlns:a16="http://schemas.microsoft.com/office/drawing/2014/main" id="{1F463082-647D-4FAB-8720-FB347D847EE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val="0"/>
              </a:ext>
            </a:extLst>
          </a:blip>
          <a:srcRect l="12512" t="8068" r="6754" b="5700"/>
          <a:stretch/>
        </p:blipFill>
        <p:spPr>
          <a:xfrm rot="16200000">
            <a:off x="4990295" y="1629162"/>
            <a:ext cx="1841284" cy="2061650"/>
          </a:xfrm>
          <a:prstGeom prst="rect">
            <a:avLst/>
          </a:prstGeom>
        </p:spPr>
      </p:pic>
      <p:sp>
        <p:nvSpPr>
          <p:cNvPr id="30" name="TextBox 29">
            <a:extLst>
              <a:ext uri="{FF2B5EF4-FFF2-40B4-BE49-F238E27FC236}">
                <a16:creationId xmlns:a16="http://schemas.microsoft.com/office/drawing/2014/main" id="{A51450F5-FEC1-4D74-A5A0-33F999888CAC}"/>
              </a:ext>
            </a:extLst>
          </p:cNvPr>
          <p:cNvSpPr txBox="1"/>
          <p:nvPr/>
        </p:nvSpPr>
        <p:spPr>
          <a:xfrm>
            <a:off x="4959903" y="3737948"/>
            <a:ext cx="2032017" cy="2908489"/>
          </a:xfrm>
          <a:prstGeom prst="rect">
            <a:avLst/>
          </a:prstGeom>
          <a:noFill/>
          <a:ln w="6350">
            <a:noFill/>
            <a:prstDash val="dash"/>
          </a:ln>
        </p:spPr>
        <p:txBody>
          <a:bodyPr wrap="square" lIns="0" tIns="0" rIns="0" bIns="0" rtlCol="0">
            <a:noAutofit/>
          </a:bodyPr>
          <a:lstStyle/>
          <a:p>
            <a:r>
              <a:rPr lang="en-IN" sz="1200" b="1" dirty="0"/>
              <a:t>Rubber Bellow ,Bi-Directional Seal RS-MG series</a:t>
            </a:r>
          </a:p>
          <a:p>
            <a:endParaRPr lang="en-IN" sz="1100" dirty="0"/>
          </a:p>
          <a:p>
            <a:r>
              <a:rPr lang="en-IN" sz="1100" dirty="0"/>
              <a:t>Sizes available from 12mm to 100mm</a:t>
            </a:r>
          </a:p>
          <a:p>
            <a:r>
              <a:rPr lang="en-IN" sz="1100" dirty="0"/>
              <a:t>	</a:t>
            </a:r>
          </a:p>
          <a:p>
            <a:r>
              <a:rPr lang="en-IN" sz="1100" dirty="0"/>
              <a:t>Seal Faces Available Carbon, Silicon Carbide , Tungsten Carbide</a:t>
            </a:r>
          </a:p>
          <a:p>
            <a:r>
              <a:rPr lang="en-IN" sz="1100" dirty="0"/>
              <a:t>Secondary Packings, NBR,EPDM,VITON</a:t>
            </a:r>
          </a:p>
          <a:p>
            <a:endParaRPr lang="en-IN" sz="1100" dirty="0"/>
          </a:p>
          <a:p>
            <a:r>
              <a:rPr lang="en-IN" sz="1100" dirty="0"/>
              <a:t>Suitable for Clear Liquids, Dirty Liquids ,Hi viscus Liquids </a:t>
            </a:r>
          </a:p>
          <a:p>
            <a:endParaRPr lang="en-IN" sz="1100" dirty="0"/>
          </a:p>
          <a:p>
            <a:r>
              <a:rPr lang="en-IN" sz="1100" dirty="0"/>
              <a:t>Suitable </a:t>
            </a:r>
            <a:r>
              <a:rPr lang="en-IN" sz="1100" dirty="0" err="1"/>
              <a:t>Upto</a:t>
            </a:r>
            <a:r>
              <a:rPr lang="en-IN" sz="1100" dirty="0"/>
              <a:t> 7 Kg/CM2 Pressure</a:t>
            </a:r>
          </a:p>
          <a:p>
            <a:endParaRPr lang="en-IN" sz="1100" dirty="0"/>
          </a:p>
          <a:p>
            <a:r>
              <a:rPr lang="en-IN" sz="1100" dirty="0"/>
              <a:t>Temperature Maximum 150 Deg.</a:t>
            </a:r>
          </a:p>
        </p:txBody>
      </p:sp>
      <p:sp>
        <p:nvSpPr>
          <p:cNvPr id="31" name="TextBox 30">
            <a:extLst>
              <a:ext uri="{FF2B5EF4-FFF2-40B4-BE49-F238E27FC236}">
                <a16:creationId xmlns:a16="http://schemas.microsoft.com/office/drawing/2014/main" id="{4A0E8CA8-5B3B-4212-A221-1F3A79891D26}"/>
              </a:ext>
            </a:extLst>
          </p:cNvPr>
          <p:cNvSpPr txBox="1"/>
          <p:nvPr/>
        </p:nvSpPr>
        <p:spPr>
          <a:xfrm>
            <a:off x="3235998" y="552647"/>
            <a:ext cx="5720003" cy="492443"/>
          </a:xfrm>
          <a:prstGeom prst="rect">
            <a:avLst/>
          </a:prstGeom>
          <a:noFill/>
          <a:ln w="6350">
            <a:noFill/>
            <a:prstDash val="dash"/>
          </a:ln>
        </p:spPr>
        <p:txBody>
          <a:bodyPr wrap="square" lIns="0" tIns="0" rIns="0" bIns="0" rtlCol="0">
            <a:spAutoFit/>
          </a:bodyPr>
          <a:lstStyle/>
          <a:p>
            <a:pPr algn="ctr"/>
            <a:r>
              <a:rPr lang="en-US" sz="3200" b="1" dirty="0">
                <a:solidFill>
                  <a:schemeClr val="bg1"/>
                </a:solidFill>
              </a:rPr>
              <a:t>PRODUCT APPLICATION</a:t>
            </a:r>
            <a:endParaRPr lang="en-US" sz="3200" dirty="0">
              <a:solidFill>
                <a:schemeClr val="bg1"/>
              </a:solidFill>
            </a:endParaRPr>
          </a:p>
        </p:txBody>
      </p:sp>
    </p:spTree>
    <p:extLst>
      <p:ext uri="{BB962C8B-B14F-4D97-AF65-F5344CB8AC3E}">
        <p14:creationId xmlns:p14="http://schemas.microsoft.com/office/powerpoint/2010/main" val="13929446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85D4A6-33C2-421A-9F45-1569DD3EDE46}"/>
              </a:ext>
            </a:extLst>
          </p:cNvPr>
          <p:cNvPicPr>
            <a:picLocks noChangeAspect="1"/>
          </p:cNvPicPr>
          <p:nvPr/>
        </p:nvPicPr>
        <p:blipFill rotWithShape="1">
          <a:blip r:embed="rId2"/>
          <a:srcRect t="17625" b="20839"/>
          <a:stretch/>
        </p:blipFill>
        <p:spPr>
          <a:xfrm>
            <a:off x="0" y="1050428"/>
            <a:ext cx="12192000" cy="4220093"/>
          </a:xfrm>
          <a:prstGeom prst="rect">
            <a:avLst/>
          </a:prstGeom>
        </p:spPr>
      </p:pic>
      <p:grpSp>
        <p:nvGrpSpPr>
          <p:cNvPr id="5" name="Group 4"/>
          <p:cNvGrpSpPr/>
          <p:nvPr/>
        </p:nvGrpSpPr>
        <p:grpSpPr>
          <a:xfrm>
            <a:off x="4209188" y="461746"/>
            <a:ext cx="3773624" cy="492443"/>
            <a:chOff x="2551612" y="549275"/>
            <a:chExt cx="3773624" cy="492443"/>
          </a:xfrm>
        </p:grpSpPr>
        <p:sp>
          <p:nvSpPr>
            <p:cNvPr id="6" name="Line 6"/>
            <p:cNvSpPr>
              <a:spLocks noChangeShapeType="1"/>
            </p:cNvSpPr>
            <p:nvPr/>
          </p:nvSpPr>
          <p:spPr bwMode="auto">
            <a:xfrm>
              <a:off x="4256655" y="1024552"/>
              <a:ext cx="363538" cy="0"/>
            </a:xfrm>
            <a:prstGeom prst="line">
              <a:avLst/>
            </a:prstGeom>
            <a:noFill/>
            <a:ln w="57150"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7" name="TextBox 6"/>
            <p:cNvSpPr txBox="1"/>
            <p:nvPr/>
          </p:nvSpPr>
          <p:spPr>
            <a:xfrm>
              <a:off x="2551612" y="549275"/>
              <a:ext cx="3773624" cy="492443"/>
            </a:xfrm>
            <a:prstGeom prst="rect">
              <a:avLst/>
            </a:prstGeom>
            <a:noFill/>
            <a:ln w="6350">
              <a:noFill/>
              <a:prstDash val="dash"/>
            </a:ln>
          </p:spPr>
          <p:txBody>
            <a:bodyPr wrap="square" lIns="0" tIns="0" rIns="0" bIns="0" rtlCol="0">
              <a:spAutoFit/>
            </a:bodyPr>
            <a:lstStyle/>
            <a:p>
              <a:pPr algn="ctr"/>
              <a:r>
                <a:rPr lang="en-US" sz="3200" b="1" dirty="0">
                  <a:solidFill>
                    <a:schemeClr val="tx1">
                      <a:lumMod val="75000"/>
                      <a:lumOff val="25000"/>
                    </a:schemeClr>
                  </a:solidFill>
                </a:rPr>
                <a:t>HOW TO </a:t>
              </a:r>
              <a:r>
                <a:rPr lang="en-US" sz="3200" dirty="0">
                  <a:solidFill>
                    <a:schemeClr val="tx1">
                      <a:lumMod val="75000"/>
                      <a:lumOff val="25000"/>
                    </a:schemeClr>
                  </a:solidFill>
                </a:rPr>
                <a:t>FIND US</a:t>
              </a:r>
              <a:endParaRPr lang="en-US" sz="2800" dirty="0">
                <a:solidFill>
                  <a:schemeClr val="tx1">
                    <a:lumMod val="75000"/>
                    <a:lumOff val="25000"/>
                  </a:schemeClr>
                </a:solidFill>
              </a:endParaRPr>
            </a:p>
          </p:txBody>
        </p:sp>
      </p:grpSp>
      <p:sp>
        <p:nvSpPr>
          <p:cNvPr id="56" name="Rectangle 55"/>
          <p:cNvSpPr/>
          <p:nvPr/>
        </p:nvSpPr>
        <p:spPr>
          <a:xfrm>
            <a:off x="0" y="997294"/>
            <a:ext cx="4539345" cy="4273227"/>
          </a:xfrm>
          <a:prstGeom prst="rect">
            <a:avLst/>
          </a:prstGeom>
          <a:solidFill>
            <a:srgbClr val="8AAAE5">
              <a:alpha val="8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a:grpSpLocks noChangeAspect="1"/>
          </p:cNvGrpSpPr>
          <p:nvPr/>
        </p:nvGrpSpPr>
        <p:grpSpPr>
          <a:xfrm>
            <a:off x="166492" y="4186515"/>
            <a:ext cx="159917" cy="106786"/>
            <a:chOff x="5867374" y="2350192"/>
            <a:chExt cx="220415" cy="147182"/>
          </a:xfrm>
          <a:solidFill>
            <a:schemeClr val="bg2"/>
          </a:solidFill>
        </p:grpSpPr>
        <p:sp>
          <p:nvSpPr>
            <p:cNvPr id="22" name="Freeform 3506"/>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100">
                <a:solidFill>
                  <a:schemeClr val="tx1">
                    <a:lumMod val="75000"/>
                    <a:lumOff val="25000"/>
                  </a:schemeClr>
                </a:solidFill>
              </a:endParaRPr>
            </a:p>
          </p:txBody>
        </p:sp>
        <p:sp>
          <p:nvSpPr>
            <p:cNvPr id="23" name="Freeform 3507"/>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1100">
                <a:solidFill>
                  <a:schemeClr val="tx1">
                    <a:lumMod val="75000"/>
                    <a:lumOff val="25000"/>
                  </a:schemeClr>
                </a:solidFill>
              </a:endParaRPr>
            </a:p>
          </p:txBody>
        </p:sp>
      </p:grpSp>
      <p:sp>
        <p:nvSpPr>
          <p:cNvPr id="21" name="Oval 20"/>
          <p:cNvSpPr/>
          <p:nvPr/>
        </p:nvSpPr>
        <p:spPr>
          <a:xfrm>
            <a:off x="88054" y="4066269"/>
            <a:ext cx="316797" cy="316800"/>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48" name="TextBox 47"/>
          <p:cNvSpPr txBox="1"/>
          <p:nvPr/>
        </p:nvSpPr>
        <p:spPr>
          <a:xfrm>
            <a:off x="604184" y="4122257"/>
            <a:ext cx="1644269" cy="184665"/>
          </a:xfrm>
          <a:prstGeom prst="rect">
            <a:avLst/>
          </a:prstGeom>
          <a:noFill/>
          <a:ln w="6350">
            <a:noFill/>
            <a:prstDash val="dash"/>
          </a:ln>
        </p:spPr>
        <p:txBody>
          <a:bodyPr wrap="square" lIns="0" tIns="0" rIns="0" bIns="0" rtlCol="0">
            <a:spAutoFit/>
          </a:bodyPr>
          <a:lstStyle/>
          <a:p>
            <a:r>
              <a:rPr lang="en-US" sz="1200" dirty="0">
                <a:solidFill>
                  <a:schemeClr val="tx1">
                    <a:lumMod val="75000"/>
                    <a:lumOff val="25000"/>
                  </a:schemeClr>
                </a:solidFill>
              </a:rPr>
              <a:t>info@rotoseals.co.in</a:t>
            </a:r>
          </a:p>
        </p:txBody>
      </p:sp>
      <p:sp>
        <p:nvSpPr>
          <p:cNvPr id="16" name="Freeform 1907"/>
          <p:cNvSpPr>
            <a:spLocks noChangeAspect="1"/>
          </p:cNvSpPr>
          <p:nvPr/>
        </p:nvSpPr>
        <p:spPr bwMode="auto">
          <a:xfrm>
            <a:off x="195136" y="4528305"/>
            <a:ext cx="141320" cy="142132"/>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100">
              <a:solidFill>
                <a:schemeClr val="tx1">
                  <a:lumMod val="75000"/>
                  <a:lumOff val="25000"/>
                </a:schemeClr>
              </a:solidFill>
            </a:endParaRPr>
          </a:p>
        </p:txBody>
      </p:sp>
      <p:sp>
        <p:nvSpPr>
          <p:cNvPr id="17" name="Oval 16"/>
          <p:cNvSpPr/>
          <p:nvPr/>
        </p:nvSpPr>
        <p:spPr>
          <a:xfrm>
            <a:off x="107396" y="4440972"/>
            <a:ext cx="316797" cy="316800"/>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49" name="TextBox 48"/>
          <p:cNvSpPr txBox="1"/>
          <p:nvPr/>
        </p:nvSpPr>
        <p:spPr>
          <a:xfrm>
            <a:off x="579568" y="4512496"/>
            <a:ext cx="1644269" cy="184665"/>
          </a:xfrm>
          <a:prstGeom prst="rect">
            <a:avLst/>
          </a:prstGeom>
          <a:noFill/>
          <a:ln w="6350">
            <a:noFill/>
            <a:prstDash val="dash"/>
          </a:ln>
        </p:spPr>
        <p:txBody>
          <a:bodyPr wrap="square" lIns="0" tIns="0" rIns="0" bIns="0" rtlCol="0">
            <a:spAutoFit/>
          </a:bodyPr>
          <a:lstStyle/>
          <a:p>
            <a:r>
              <a:rPr lang="en-US" sz="1200" dirty="0">
                <a:solidFill>
                  <a:schemeClr val="tx1">
                    <a:lumMod val="75000"/>
                    <a:lumOff val="25000"/>
                  </a:schemeClr>
                </a:solidFill>
              </a:rPr>
              <a:t>+91-120-4160525</a:t>
            </a:r>
          </a:p>
        </p:txBody>
      </p:sp>
      <p:grpSp>
        <p:nvGrpSpPr>
          <p:cNvPr id="76" name="Group 75"/>
          <p:cNvGrpSpPr/>
          <p:nvPr/>
        </p:nvGrpSpPr>
        <p:grpSpPr>
          <a:xfrm>
            <a:off x="35174" y="2075207"/>
            <a:ext cx="4826977" cy="2462213"/>
            <a:chOff x="-81570" y="1945094"/>
            <a:chExt cx="3281799" cy="2462213"/>
          </a:xfrm>
        </p:grpSpPr>
        <p:sp>
          <p:nvSpPr>
            <p:cNvPr id="57" name="TextBox 56"/>
            <p:cNvSpPr txBox="1"/>
            <p:nvPr/>
          </p:nvSpPr>
          <p:spPr>
            <a:xfrm>
              <a:off x="558461" y="3211597"/>
              <a:ext cx="2126728" cy="184666"/>
            </a:xfrm>
            <a:prstGeom prst="rect">
              <a:avLst/>
            </a:prstGeom>
            <a:noFill/>
            <a:ln w="6350">
              <a:noFill/>
              <a:prstDash val="dash"/>
            </a:ln>
          </p:spPr>
          <p:txBody>
            <a:bodyPr wrap="square" lIns="0" tIns="0" rIns="0" bIns="0" rtlCol="0">
              <a:spAutoFit/>
            </a:bodyPr>
            <a:lstStyle/>
            <a:p>
              <a:r>
                <a:rPr lang="en-US" sz="1200" dirty="0">
                  <a:solidFill>
                    <a:schemeClr val="bg1"/>
                  </a:solidFill>
                </a:rPr>
                <a:t> </a:t>
              </a:r>
            </a:p>
          </p:txBody>
        </p:sp>
        <p:sp>
          <p:nvSpPr>
            <p:cNvPr id="4" name="TextBox 3"/>
            <p:cNvSpPr txBox="1"/>
            <p:nvPr/>
          </p:nvSpPr>
          <p:spPr>
            <a:xfrm>
              <a:off x="-81570" y="1945094"/>
              <a:ext cx="3281799" cy="2462213"/>
            </a:xfrm>
            <a:prstGeom prst="rect">
              <a:avLst/>
            </a:prstGeom>
            <a:noFill/>
            <a:ln w="6350">
              <a:noFill/>
              <a:prstDash val="dash"/>
            </a:ln>
          </p:spPr>
          <p:txBody>
            <a:bodyPr wrap="square" lIns="0" tIns="0" rIns="0" bIns="0" rtlCol="0">
              <a:spAutoFit/>
            </a:bodyPr>
            <a:lstStyle/>
            <a:p>
              <a:r>
                <a:rPr lang="en-US" sz="3200" b="1" dirty="0">
                  <a:solidFill>
                    <a:schemeClr val="bg1"/>
                  </a:solidFill>
                </a:rPr>
                <a:t>ROTOMEK SEALS PVT. LTD.</a:t>
              </a:r>
            </a:p>
            <a:p>
              <a:r>
                <a:rPr lang="en-US" sz="2400" dirty="0">
                  <a:solidFill>
                    <a:schemeClr val="bg1"/>
                  </a:solidFill>
                </a:rPr>
                <a:t>D-116 </a:t>
              </a:r>
              <a:r>
                <a:rPr lang="en-US" sz="2400" dirty="0" err="1">
                  <a:solidFill>
                    <a:schemeClr val="bg1"/>
                  </a:solidFill>
                </a:rPr>
                <a:t>Bulandshahar</a:t>
              </a:r>
              <a:r>
                <a:rPr lang="en-US" sz="2400" dirty="0">
                  <a:solidFill>
                    <a:schemeClr val="bg1"/>
                  </a:solidFill>
                </a:rPr>
                <a:t> Road Industrial Area,</a:t>
              </a:r>
            </a:p>
            <a:p>
              <a:r>
                <a:rPr lang="en-US" sz="2400" dirty="0">
                  <a:solidFill>
                    <a:schemeClr val="bg1"/>
                  </a:solidFill>
                </a:rPr>
                <a:t>Ghaziabad, U.P.</a:t>
              </a:r>
            </a:p>
            <a:p>
              <a:r>
                <a:rPr lang="en-US" sz="2400" dirty="0">
                  <a:solidFill>
                    <a:schemeClr val="bg1"/>
                  </a:solidFill>
                </a:rPr>
                <a:t>Pin Code : 201001</a:t>
              </a:r>
            </a:p>
          </p:txBody>
        </p:sp>
      </p:grpSp>
      <p:pic>
        <p:nvPicPr>
          <p:cNvPr id="11" name="Graphic 10" descr="Marker">
            <a:extLst>
              <a:ext uri="{FF2B5EF4-FFF2-40B4-BE49-F238E27FC236}">
                <a16:creationId xmlns:a16="http://schemas.microsoft.com/office/drawing/2014/main" id="{AC0EFB65-C8BE-4A1F-A172-DD1865FC54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30565" y="2373858"/>
            <a:ext cx="422097" cy="422097"/>
          </a:xfrm>
          <a:prstGeom prst="rect">
            <a:avLst/>
          </a:prstGeom>
        </p:spPr>
      </p:pic>
      <p:sp>
        <p:nvSpPr>
          <p:cNvPr id="12" name="TextBox 11">
            <a:extLst>
              <a:ext uri="{FF2B5EF4-FFF2-40B4-BE49-F238E27FC236}">
                <a16:creationId xmlns:a16="http://schemas.microsoft.com/office/drawing/2014/main" id="{390A2EBC-C0C4-44B3-A3F2-C2CC14837BA7}"/>
              </a:ext>
            </a:extLst>
          </p:cNvPr>
          <p:cNvSpPr txBox="1"/>
          <p:nvPr/>
        </p:nvSpPr>
        <p:spPr>
          <a:xfrm>
            <a:off x="7376144" y="2393563"/>
            <a:ext cx="1107831" cy="422030"/>
          </a:xfrm>
          <a:prstGeom prst="rect">
            <a:avLst/>
          </a:prstGeom>
          <a:noFill/>
        </p:spPr>
        <p:txBody>
          <a:bodyPr wrap="square" rtlCol="0">
            <a:spAutoFit/>
          </a:bodyPr>
          <a:lstStyle/>
          <a:p>
            <a:r>
              <a:rPr lang="en-IN" sz="1050" dirty="0"/>
              <a:t>ROTOMEK SEALS PVT. LTD.</a:t>
            </a:r>
          </a:p>
        </p:txBody>
      </p:sp>
    </p:spTree>
    <p:extLst>
      <p:ext uri="{BB962C8B-B14F-4D97-AF65-F5344CB8AC3E}">
        <p14:creationId xmlns:p14="http://schemas.microsoft.com/office/powerpoint/2010/main" val="1982076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descr="A group of people in a room&#10;&#10;Description automatically generated">
            <a:extLst>
              <a:ext uri="{FF2B5EF4-FFF2-40B4-BE49-F238E27FC236}">
                <a16:creationId xmlns:a16="http://schemas.microsoft.com/office/drawing/2014/main" id="{EDCCDC57-A0AF-45FB-ACE0-CD014DDA1B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35000"/>
            <a:ext cx="12192000" cy="8128000"/>
          </a:xfrm>
          <a:prstGeom prst="rect">
            <a:avLst/>
          </a:prstGeom>
        </p:spPr>
      </p:pic>
      <p:sp>
        <p:nvSpPr>
          <p:cNvPr id="45" name="Rectangle 44">
            <a:extLst>
              <a:ext uri="{FF2B5EF4-FFF2-40B4-BE49-F238E27FC236}">
                <a16:creationId xmlns:a16="http://schemas.microsoft.com/office/drawing/2014/main" id="{E8F3C2E8-5D4E-43CA-8821-B1E81123F398}"/>
              </a:ext>
            </a:extLst>
          </p:cNvPr>
          <p:cNvSpPr/>
          <p:nvPr/>
        </p:nvSpPr>
        <p:spPr>
          <a:xfrm>
            <a:off x="0" y="-635000"/>
            <a:ext cx="12192000" cy="8128000"/>
          </a:xfrm>
          <a:prstGeom prst="rect">
            <a:avLst/>
          </a:prstGeom>
          <a:solidFill>
            <a:schemeClr val="accent5">
              <a:alpha val="53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id="{898CED89-1A36-4E5B-B82C-3025B736D9BA}"/>
              </a:ext>
            </a:extLst>
          </p:cNvPr>
          <p:cNvSpPr/>
          <p:nvPr>
            <p:custDataLst>
              <p:tags r:id="rId1"/>
            </p:custDataLst>
          </p:nvPr>
        </p:nvSpPr>
        <p:spPr>
          <a:xfrm>
            <a:off x="1454150" y="2426328"/>
            <a:ext cx="9283699" cy="1569660"/>
          </a:xfrm>
          <a:prstGeom prst="rect">
            <a:avLst/>
          </a:prstGeom>
        </p:spPr>
        <p:txBody>
          <a:bodyPr wrap="square">
            <a:spAutoFit/>
          </a:bodyPr>
          <a:lstStyle/>
          <a:p>
            <a:pPr algn="ctr"/>
            <a:r>
              <a:rPr lang="en-US" sz="9600" b="1" dirty="0">
                <a:solidFill>
                  <a:schemeClr val="bg2"/>
                </a:solidFill>
                <a:latin typeface="Segoe UI" panose="020B0502040204020203" pitchFamily="34" charset="0"/>
                <a:ea typeface="Segoe UI" panose="020B0502040204020203" pitchFamily="34" charset="0"/>
                <a:cs typeface="Segoe UI" panose="020B0502040204020203" pitchFamily="34" charset="0"/>
              </a:rPr>
              <a:t>THANK </a:t>
            </a:r>
            <a:r>
              <a:rPr lang="en-US" sz="9600" dirty="0">
                <a:solidFill>
                  <a:schemeClr val="bg2"/>
                </a:solidFill>
                <a:latin typeface="Segoe UI" panose="020B0502040204020203" pitchFamily="34" charset="0"/>
                <a:ea typeface="Segoe UI" panose="020B0502040204020203" pitchFamily="34" charset="0"/>
                <a:cs typeface="Segoe UI" panose="020B0502040204020203" pitchFamily="34" charset="0"/>
              </a:rPr>
              <a:t>YOU</a:t>
            </a:r>
          </a:p>
        </p:txBody>
      </p:sp>
    </p:spTree>
    <p:extLst>
      <p:ext uri="{BB962C8B-B14F-4D97-AF65-F5344CB8AC3E}">
        <p14:creationId xmlns:p14="http://schemas.microsoft.com/office/powerpoint/2010/main" val="22224755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descr="A picture containing covered, photo, many, lot&#10;&#10;Description automatically generated">
            <a:extLst>
              <a:ext uri="{FF2B5EF4-FFF2-40B4-BE49-F238E27FC236}">
                <a16:creationId xmlns:a16="http://schemas.microsoft.com/office/drawing/2014/main" id="{8B9AB400-7717-4C08-9470-2C312FCC1861}"/>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l="2066" t="26034" b="34125"/>
          <a:stretch/>
        </p:blipFill>
        <p:spPr>
          <a:xfrm>
            <a:off x="-29816" y="-30058"/>
            <a:ext cx="12192000" cy="3413376"/>
          </a:xfrm>
        </p:spPr>
      </p:pic>
      <p:sp>
        <p:nvSpPr>
          <p:cNvPr id="2" name="Rectangle 1"/>
          <p:cNvSpPr/>
          <p:nvPr/>
        </p:nvSpPr>
        <p:spPr>
          <a:xfrm>
            <a:off x="-10766" y="-45682"/>
            <a:ext cx="12192000" cy="3429000"/>
          </a:xfrm>
          <a:prstGeom prst="rect">
            <a:avLst/>
          </a:prstGeom>
          <a:solidFill>
            <a:srgbClr val="8AAAE5">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2590800" y="3782773"/>
            <a:ext cx="7010400" cy="1969770"/>
          </a:xfrm>
          <a:prstGeom prst="rect">
            <a:avLst/>
          </a:prstGeom>
          <a:noFill/>
          <a:ln w="6350">
            <a:noFill/>
            <a:prstDash val="dash"/>
          </a:ln>
        </p:spPr>
        <p:txBody>
          <a:bodyPr wrap="square" lIns="0" tIns="0" rIns="0" bIns="0" rtlCol="0">
            <a:spAutoFit/>
          </a:bodyPr>
          <a:lstStyle/>
          <a:p>
            <a:pPr algn="ctr"/>
            <a:r>
              <a:rPr lang="en-IN" sz="1600" dirty="0"/>
              <a:t>Incorporated in 1996, we at </a:t>
            </a:r>
            <a:r>
              <a:rPr lang="en-IN" sz="1600" dirty="0" err="1"/>
              <a:t>Rotomek</a:t>
            </a:r>
            <a:r>
              <a:rPr lang="en-IN" sz="1600" dirty="0"/>
              <a:t> Seals </a:t>
            </a:r>
            <a:r>
              <a:rPr lang="en-IN" sz="1600" dirty="0" err="1"/>
              <a:t>Pvt.</a:t>
            </a:r>
            <a:r>
              <a:rPr lang="en-IN" sz="1600" dirty="0"/>
              <a:t> Ltd. have been committed to manufacturing world class mechanical seals to our patrons. With over 25 years of experience of catering  to a wide range of industries, we can ensure perfect sealing of any kind of pump. </a:t>
            </a:r>
          </a:p>
          <a:p>
            <a:pPr algn="ctr"/>
            <a:r>
              <a:rPr lang="en-IN" sz="1600" dirty="0"/>
              <a:t>With over 2000 trusting customers we have established ourselves as one of the leading Mechanical Seal manufacturers in the country. Our constant endeavour is to provide our customers with world class products.</a:t>
            </a:r>
          </a:p>
          <a:p>
            <a:pPr algn="ctr"/>
            <a:endParaRPr lang="en-US" sz="1600" dirty="0">
              <a:solidFill>
                <a:schemeClr val="tx1">
                  <a:lumMod val="75000"/>
                  <a:lumOff val="25000"/>
                </a:schemeClr>
              </a:solidFill>
            </a:endParaRPr>
          </a:p>
        </p:txBody>
      </p:sp>
      <p:grpSp>
        <p:nvGrpSpPr>
          <p:cNvPr id="29" name="Group 28">
            <a:extLst>
              <a:ext uri="{FF2B5EF4-FFF2-40B4-BE49-F238E27FC236}">
                <a16:creationId xmlns:a16="http://schemas.microsoft.com/office/drawing/2014/main" id="{2F968F0D-7961-49AB-B57C-9FD2283DEC10}"/>
              </a:ext>
            </a:extLst>
          </p:cNvPr>
          <p:cNvGrpSpPr/>
          <p:nvPr/>
        </p:nvGrpSpPr>
        <p:grpSpPr>
          <a:xfrm>
            <a:off x="5503130" y="6220403"/>
            <a:ext cx="1185740" cy="316800"/>
            <a:chOff x="1148861" y="6105840"/>
            <a:chExt cx="1185740" cy="316800"/>
          </a:xfrm>
        </p:grpSpPr>
        <p:grpSp>
          <p:nvGrpSpPr>
            <p:cNvPr id="30" name="Group 29">
              <a:extLst>
                <a:ext uri="{FF2B5EF4-FFF2-40B4-BE49-F238E27FC236}">
                  <a16:creationId xmlns:a16="http://schemas.microsoft.com/office/drawing/2014/main" id="{ECCEB52D-78C4-4C04-B6DF-32B52C42CEAF}"/>
                </a:ext>
              </a:extLst>
            </p:cNvPr>
            <p:cNvGrpSpPr>
              <a:grpSpLocks noChangeAspect="1"/>
            </p:cNvGrpSpPr>
            <p:nvPr/>
          </p:nvGrpSpPr>
          <p:grpSpPr>
            <a:xfrm>
              <a:off x="1227300" y="6210847"/>
              <a:ext cx="159918" cy="106786"/>
              <a:chOff x="5867374" y="2350192"/>
              <a:chExt cx="220415" cy="147182"/>
            </a:xfrm>
            <a:solidFill>
              <a:srgbClr val="8AAAE5"/>
            </a:solidFill>
          </p:grpSpPr>
          <p:sp>
            <p:nvSpPr>
              <p:cNvPr id="37" name="Freeform 3506">
                <a:extLst>
                  <a:ext uri="{FF2B5EF4-FFF2-40B4-BE49-F238E27FC236}">
                    <a16:creationId xmlns:a16="http://schemas.microsoft.com/office/drawing/2014/main" id="{70278867-2A40-47A3-B9F3-0BF52AD7ABE0}"/>
                  </a:ext>
                </a:extLst>
              </p:cNvPr>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100">
                  <a:solidFill>
                    <a:schemeClr val="tx1">
                      <a:lumMod val="75000"/>
                      <a:lumOff val="25000"/>
                    </a:schemeClr>
                  </a:solidFill>
                </a:endParaRPr>
              </a:p>
            </p:txBody>
          </p:sp>
          <p:sp>
            <p:nvSpPr>
              <p:cNvPr id="38" name="Freeform 3507">
                <a:extLst>
                  <a:ext uri="{FF2B5EF4-FFF2-40B4-BE49-F238E27FC236}">
                    <a16:creationId xmlns:a16="http://schemas.microsoft.com/office/drawing/2014/main" id="{221C7F14-79E1-445E-A7A4-3186E2E06A46}"/>
                  </a:ext>
                </a:extLst>
              </p:cNvPr>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1100">
                  <a:solidFill>
                    <a:schemeClr val="tx1">
                      <a:lumMod val="75000"/>
                      <a:lumOff val="25000"/>
                    </a:schemeClr>
                  </a:solidFill>
                </a:endParaRPr>
              </a:p>
            </p:txBody>
          </p:sp>
        </p:grpSp>
        <p:sp>
          <p:nvSpPr>
            <p:cNvPr id="31" name="Oval 30">
              <a:extLst>
                <a:ext uri="{FF2B5EF4-FFF2-40B4-BE49-F238E27FC236}">
                  <a16:creationId xmlns:a16="http://schemas.microsoft.com/office/drawing/2014/main" id="{6890CC1D-2081-434F-97F0-F067E7D90733}"/>
                </a:ext>
              </a:extLst>
            </p:cNvPr>
            <p:cNvSpPr/>
            <p:nvPr/>
          </p:nvSpPr>
          <p:spPr>
            <a:xfrm>
              <a:off x="1148861" y="6105840"/>
              <a:ext cx="316798" cy="316800"/>
            </a:xfrm>
            <a:prstGeom prst="ellipse">
              <a:avLst/>
            </a:prstGeom>
            <a:noFill/>
            <a:ln w="127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32" name="Freeform 184">
              <a:extLst>
                <a:ext uri="{FF2B5EF4-FFF2-40B4-BE49-F238E27FC236}">
                  <a16:creationId xmlns:a16="http://schemas.microsoft.com/office/drawing/2014/main" id="{3E713BFC-BFA8-4432-BBEC-FCC08DCC0122}"/>
                </a:ext>
              </a:extLst>
            </p:cNvPr>
            <p:cNvSpPr>
              <a:spLocks noChangeAspect="1"/>
            </p:cNvSpPr>
            <p:nvPr/>
          </p:nvSpPr>
          <p:spPr bwMode="auto">
            <a:xfrm>
              <a:off x="1662182" y="6199634"/>
              <a:ext cx="159090" cy="129211"/>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8AAAE5"/>
            </a:solidFill>
            <a:ln>
              <a:noFill/>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33" name="Oval 32">
              <a:extLst>
                <a:ext uri="{FF2B5EF4-FFF2-40B4-BE49-F238E27FC236}">
                  <a16:creationId xmlns:a16="http://schemas.microsoft.com/office/drawing/2014/main" id="{6E1BC0F2-5D83-4036-BBC8-C04083DA4861}"/>
                </a:ext>
              </a:extLst>
            </p:cNvPr>
            <p:cNvSpPr/>
            <p:nvPr/>
          </p:nvSpPr>
          <p:spPr>
            <a:xfrm>
              <a:off x="1583328" y="6105840"/>
              <a:ext cx="316798" cy="316800"/>
            </a:xfrm>
            <a:prstGeom prst="ellipse">
              <a:avLst/>
            </a:prstGeom>
            <a:noFill/>
            <a:ln w="127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34" name="Freeform 1907">
              <a:extLst>
                <a:ext uri="{FF2B5EF4-FFF2-40B4-BE49-F238E27FC236}">
                  <a16:creationId xmlns:a16="http://schemas.microsoft.com/office/drawing/2014/main" id="{3C59F473-EFD1-45D1-A9EC-B0C2B78BDF0B}"/>
                </a:ext>
              </a:extLst>
            </p:cNvPr>
            <p:cNvSpPr>
              <a:spLocks noChangeAspect="1"/>
            </p:cNvSpPr>
            <p:nvPr/>
          </p:nvSpPr>
          <p:spPr bwMode="auto">
            <a:xfrm>
              <a:off x="2105542" y="6193174"/>
              <a:ext cx="141320" cy="142132"/>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rgbClr val="8AAAE5"/>
            </a:solidFill>
            <a:ln>
              <a:noFill/>
            </a:ln>
          </p:spPr>
          <p:txBody>
            <a:bodyPr vert="horz" wrap="square" lIns="91440" tIns="45720" rIns="91440" bIns="45720" numCol="1" anchor="t" anchorCtr="0" compatLnSpc="1">
              <a:prstTxWarp prst="textNoShape">
                <a:avLst/>
              </a:prstTxWarp>
            </a:bodyPr>
            <a:lstStyle/>
            <a:p>
              <a:endParaRPr lang="en-US" sz="1100">
                <a:solidFill>
                  <a:schemeClr val="tx1">
                    <a:lumMod val="75000"/>
                    <a:lumOff val="25000"/>
                  </a:schemeClr>
                </a:solidFill>
              </a:endParaRPr>
            </a:p>
          </p:txBody>
        </p:sp>
        <p:sp>
          <p:nvSpPr>
            <p:cNvPr id="36" name="Oval 35">
              <a:extLst>
                <a:ext uri="{FF2B5EF4-FFF2-40B4-BE49-F238E27FC236}">
                  <a16:creationId xmlns:a16="http://schemas.microsoft.com/office/drawing/2014/main" id="{6C54E2BF-998B-417D-A46F-F9731142FFA1}"/>
                </a:ext>
              </a:extLst>
            </p:cNvPr>
            <p:cNvSpPr/>
            <p:nvPr/>
          </p:nvSpPr>
          <p:spPr>
            <a:xfrm>
              <a:off x="2017803" y="6105840"/>
              <a:ext cx="316798" cy="316800"/>
            </a:xfrm>
            <a:prstGeom prst="ellipse">
              <a:avLst/>
            </a:prstGeom>
            <a:noFill/>
            <a:ln w="127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grpSp>
      <p:grpSp>
        <p:nvGrpSpPr>
          <p:cNvPr id="15" name="Group 14"/>
          <p:cNvGrpSpPr/>
          <p:nvPr/>
        </p:nvGrpSpPr>
        <p:grpSpPr>
          <a:xfrm>
            <a:off x="4596158" y="567364"/>
            <a:ext cx="2999685" cy="2294272"/>
            <a:chOff x="3016589" y="195325"/>
            <a:chExt cx="2726986" cy="2085702"/>
          </a:xfrm>
        </p:grpSpPr>
        <p:sp>
          <p:nvSpPr>
            <p:cNvPr id="4" name="Isosceles Triangle 3"/>
            <p:cNvSpPr/>
            <p:nvPr/>
          </p:nvSpPr>
          <p:spPr>
            <a:xfrm>
              <a:off x="3016589" y="195325"/>
              <a:ext cx="2726986" cy="2085702"/>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3477748" y="761362"/>
              <a:ext cx="1804669" cy="1386659"/>
              <a:chOff x="3477748" y="771232"/>
              <a:chExt cx="1804669" cy="1386659"/>
            </a:xfrm>
          </p:grpSpPr>
          <p:grpSp>
            <p:nvGrpSpPr>
              <p:cNvPr id="11" name="Group 10"/>
              <p:cNvGrpSpPr/>
              <p:nvPr/>
            </p:nvGrpSpPr>
            <p:grpSpPr>
              <a:xfrm>
                <a:off x="4077013" y="771232"/>
                <a:ext cx="606136" cy="606136"/>
                <a:chOff x="4214814" y="1909700"/>
                <a:chExt cx="733425" cy="733425"/>
              </a:xfrm>
            </p:grpSpPr>
            <p:sp>
              <p:nvSpPr>
                <p:cNvPr id="5" name="Oval 4"/>
                <p:cNvSpPr/>
                <p:nvPr/>
              </p:nvSpPr>
              <p:spPr>
                <a:xfrm>
                  <a:off x="4214814" y="1909700"/>
                  <a:ext cx="733425" cy="7334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4410568" y="2105454"/>
                  <a:ext cx="341916" cy="341916"/>
                  <a:chOff x="9318625" y="771526"/>
                  <a:chExt cx="282575" cy="282575"/>
                </a:xfrm>
              </p:grpSpPr>
              <p:sp>
                <p:nvSpPr>
                  <p:cNvPr id="8" name="Freeform 177"/>
                  <p:cNvSpPr>
                    <a:spLocks/>
                  </p:cNvSpPr>
                  <p:nvPr/>
                </p:nvSpPr>
                <p:spPr bwMode="auto">
                  <a:xfrm>
                    <a:off x="9318625" y="798513"/>
                    <a:ext cx="236537" cy="255588"/>
                  </a:xfrm>
                  <a:custGeom>
                    <a:avLst/>
                    <a:gdLst>
                      <a:gd name="T0" fmla="*/ 729 w 747"/>
                      <a:gd name="T1" fmla="*/ 306 h 806"/>
                      <a:gd name="T2" fmla="*/ 723 w 747"/>
                      <a:gd name="T3" fmla="*/ 308 h 806"/>
                      <a:gd name="T4" fmla="*/ 720 w 747"/>
                      <a:gd name="T5" fmla="*/ 312 h 806"/>
                      <a:gd name="T6" fmla="*/ 717 w 747"/>
                      <a:gd name="T7" fmla="*/ 318 h 806"/>
                      <a:gd name="T8" fmla="*/ 717 w 747"/>
                      <a:gd name="T9" fmla="*/ 776 h 806"/>
                      <a:gd name="T10" fmla="*/ 30 w 747"/>
                      <a:gd name="T11" fmla="*/ 30 h 806"/>
                      <a:gd name="T12" fmla="*/ 621 w 747"/>
                      <a:gd name="T13" fmla="*/ 29 h 806"/>
                      <a:gd name="T14" fmla="*/ 626 w 747"/>
                      <a:gd name="T15" fmla="*/ 27 h 806"/>
                      <a:gd name="T16" fmla="*/ 630 w 747"/>
                      <a:gd name="T17" fmla="*/ 22 h 806"/>
                      <a:gd name="T18" fmla="*/ 632 w 747"/>
                      <a:gd name="T19" fmla="*/ 17 h 806"/>
                      <a:gd name="T20" fmla="*/ 632 w 747"/>
                      <a:gd name="T21" fmla="*/ 12 h 806"/>
                      <a:gd name="T22" fmla="*/ 630 w 747"/>
                      <a:gd name="T23" fmla="*/ 6 h 806"/>
                      <a:gd name="T24" fmla="*/ 626 w 747"/>
                      <a:gd name="T25" fmla="*/ 2 h 806"/>
                      <a:gd name="T26" fmla="*/ 621 w 747"/>
                      <a:gd name="T27" fmla="*/ 0 h 806"/>
                      <a:gd name="T28" fmla="*/ 15 w 747"/>
                      <a:gd name="T29" fmla="*/ 0 h 806"/>
                      <a:gd name="T30" fmla="*/ 9 w 747"/>
                      <a:gd name="T31" fmla="*/ 1 h 806"/>
                      <a:gd name="T32" fmla="*/ 5 w 747"/>
                      <a:gd name="T33" fmla="*/ 4 h 806"/>
                      <a:gd name="T34" fmla="*/ 1 w 747"/>
                      <a:gd name="T35" fmla="*/ 9 h 806"/>
                      <a:gd name="T36" fmla="*/ 0 w 747"/>
                      <a:gd name="T37" fmla="*/ 15 h 806"/>
                      <a:gd name="T38" fmla="*/ 0 w 747"/>
                      <a:gd name="T39" fmla="*/ 794 h 806"/>
                      <a:gd name="T40" fmla="*/ 2 w 747"/>
                      <a:gd name="T41" fmla="*/ 800 h 806"/>
                      <a:gd name="T42" fmla="*/ 7 w 747"/>
                      <a:gd name="T43" fmla="*/ 804 h 806"/>
                      <a:gd name="T44" fmla="*/ 12 w 747"/>
                      <a:gd name="T45" fmla="*/ 806 h 806"/>
                      <a:gd name="T46" fmla="*/ 732 w 747"/>
                      <a:gd name="T47" fmla="*/ 806 h 806"/>
                      <a:gd name="T48" fmla="*/ 738 w 747"/>
                      <a:gd name="T49" fmla="*/ 805 h 806"/>
                      <a:gd name="T50" fmla="*/ 743 w 747"/>
                      <a:gd name="T51" fmla="*/ 802 h 806"/>
                      <a:gd name="T52" fmla="*/ 746 w 747"/>
                      <a:gd name="T53" fmla="*/ 798 h 806"/>
                      <a:gd name="T54" fmla="*/ 747 w 747"/>
                      <a:gd name="T55" fmla="*/ 791 h 806"/>
                      <a:gd name="T56" fmla="*/ 747 w 747"/>
                      <a:gd name="T57" fmla="*/ 318 h 806"/>
                      <a:gd name="T58" fmla="*/ 745 w 747"/>
                      <a:gd name="T59" fmla="*/ 312 h 806"/>
                      <a:gd name="T60" fmla="*/ 741 w 747"/>
                      <a:gd name="T61" fmla="*/ 308 h 806"/>
                      <a:gd name="T62" fmla="*/ 735 w 747"/>
                      <a:gd name="T63" fmla="*/ 306 h 806"/>
                      <a:gd name="T64" fmla="*/ 732 w 747"/>
                      <a:gd name="T65" fmla="*/ 306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7" h="806">
                        <a:moveTo>
                          <a:pt x="732" y="306"/>
                        </a:moveTo>
                        <a:lnTo>
                          <a:pt x="729" y="306"/>
                        </a:lnTo>
                        <a:lnTo>
                          <a:pt x="727" y="307"/>
                        </a:lnTo>
                        <a:lnTo>
                          <a:pt x="723" y="308"/>
                        </a:lnTo>
                        <a:lnTo>
                          <a:pt x="721" y="310"/>
                        </a:lnTo>
                        <a:lnTo>
                          <a:pt x="720" y="312"/>
                        </a:lnTo>
                        <a:lnTo>
                          <a:pt x="718" y="314"/>
                        </a:lnTo>
                        <a:lnTo>
                          <a:pt x="717" y="318"/>
                        </a:lnTo>
                        <a:lnTo>
                          <a:pt x="717" y="321"/>
                        </a:lnTo>
                        <a:lnTo>
                          <a:pt x="717" y="776"/>
                        </a:lnTo>
                        <a:lnTo>
                          <a:pt x="30" y="776"/>
                        </a:lnTo>
                        <a:lnTo>
                          <a:pt x="30" y="30"/>
                        </a:lnTo>
                        <a:lnTo>
                          <a:pt x="617" y="30"/>
                        </a:lnTo>
                        <a:lnTo>
                          <a:pt x="621" y="29"/>
                        </a:lnTo>
                        <a:lnTo>
                          <a:pt x="624" y="28"/>
                        </a:lnTo>
                        <a:lnTo>
                          <a:pt x="626" y="27"/>
                        </a:lnTo>
                        <a:lnTo>
                          <a:pt x="628" y="25"/>
                        </a:lnTo>
                        <a:lnTo>
                          <a:pt x="630" y="22"/>
                        </a:lnTo>
                        <a:lnTo>
                          <a:pt x="631" y="20"/>
                        </a:lnTo>
                        <a:lnTo>
                          <a:pt x="632" y="17"/>
                        </a:lnTo>
                        <a:lnTo>
                          <a:pt x="632" y="15"/>
                        </a:lnTo>
                        <a:lnTo>
                          <a:pt x="632" y="12"/>
                        </a:lnTo>
                        <a:lnTo>
                          <a:pt x="631" y="9"/>
                        </a:lnTo>
                        <a:lnTo>
                          <a:pt x="630" y="6"/>
                        </a:lnTo>
                        <a:lnTo>
                          <a:pt x="628" y="4"/>
                        </a:lnTo>
                        <a:lnTo>
                          <a:pt x="626" y="2"/>
                        </a:lnTo>
                        <a:lnTo>
                          <a:pt x="624" y="1"/>
                        </a:lnTo>
                        <a:lnTo>
                          <a:pt x="621" y="0"/>
                        </a:lnTo>
                        <a:lnTo>
                          <a:pt x="617" y="0"/>
                        </a:lnTo>
                        <a:lnTo>
                          <a:pt x="15" y="0"/>
                        </a:lnTo>
                        <a:lnTo>
                          <a:pt x="12" y="0"/>
                        </a:lnTo>
                        <a:lnTo>
                          <a:pt x="9" y="1"/>
                        </a:lnTo>
                        <a:lnTo>
                          <a:pt x="7" y="2"/>
                        </a:lnTo>
                        <a:lnTo>
                          <a:pt x="5" y="4"/>
                        </a:lnTo>
                        <a:lnTo>
                          <a:pt x="2" y="6"/>
                        </a:lnTo>
                        <a:lnTo>
                          <a:pt x="1" y="9"/>
                        </a:lnTo>
                        <a:lnTo>
                          <a:pt x="0" y="12"/>
                        </a:lnTo>
                        <a:lnTo>
                          <a:pt x="0" y="15"/>
                        </a:lnTo>
                        <a:lnTo>
                          <a:pt x="0" y="791"/>
                        </a:lnTo>
                        <a:lnTo>
                          <a:pt x="0" y="794"/>
                        </a:lnTo>
                        <a:lnTo>
                          <a:pt x="1" y="798"/>
                        </a:lnTo>
                        <a:lnTo>
                          <a:pt x="2" y="800"/>
                        </a:lnTo>
                        <a:lnTo>
                          <a:pt x="5" y="802"/>
                        </a:lnTo>
                        <a:lnTo>
                          <a:pt x="7" y="804"/>
                        </a:lnTo>
                        <a:lnTo>
                          <a:pt x="9" y="805"/>
                        </a:lnTo>
                        <a:lnTo>
                          <a:pt x="12" y="806"/>
                        </a:lnTo>
                        <a:lnTo>
                          <a:pt x="15" y="806"/>
                        </a:lnTo>
                        <a:lnTo>
                          <a:pt x="732" y="806"/>
                        </a:lnTo>
                        <a:lnTo>
                          <a:pt x="735" y="806"/>
                        </a:lnTo>
                        <a:lnTo>
                          <a:pt x="738" y="805"/>
                        </a:lnTo>
                        <a:lnTo>
                          <a:pt x="741" y="804"/>
                        </a:lnTo>
                        <a:lnTo>
                          <a:pt x="743" y="802"/>
                        </a:lnTo>
                        <a:lnTo>
                          <a:pt x="745" y="800"/>
                        </a:lnTo>
                        <a:lnTo>
                          <a:pt x="746" y="798"/>
                        </a:lnTo>
                        <a:lnTo>
                          <a:pt x="747" y="794"/>
                        </a:lnTo>
                        <a:lnTo>
                          <a:pt x="747" y="791"/>
                        </a:lnTo>
                        <a:lnTo>
                          <a:pt x="747" y="321"/>
                        </a:lnTo>
                        <a:lnTo>
                          <a:pt x="747" y="318"/>
                        </a:lnTo>
                        <a:lnTo>
                          <a:pt x="746" y="314"/>
                        </a:lnTo>
                        <a:lnTo>
                          <a:pt x="745" y="312"/>
                        </a:lnTo>
                        <a:lnTo>
                          <a:pt x="743" y="310"/>
                        </a:lnTo>
                        <a:lnTo>
                          <a:pt x="741" y="308"/>
                        </a:lnTo>
                        <a:lnTo>
                          <a:pt x="738" y="307"/>
                        </a:lnTo>
                        <a:lnTo>
                          <a:pt x="735" y="306"/>
                        </a:lnTo>
                        <a:lnTo>
                          <a:pt x="732" y="306"/>
                        </a:lnTo>
                        <a:lnTo>
                          <a:pt x="732" y="306"/>
                        </a:lnTo>
                        <a:close/>
                      </a:path>
                    </a:pathLst>
                  </a:custGeom>
                  <a:gradFill>
                    <a:gsLst>
                      <a:gs pos="0">
                        <a:schemeClr val="tx2"/>
                      </a:gs>
                      <a:gs pos="100000">
                        <a:schemeClr val="bg2"/>
                      </a:gs>
                    </a:gsLst>
                    <a:lin ang="2700000" scaled="0"/>
                  </a:gradFill>
                  <a:ln>
                    <a:noFill/>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9" name="Freeform 178"/>
                  <p:cNvSpPr>
                    <a:spLocks noEditPoints="1"/>
                  </p:cNvSpPr>
                  <p:nvPr/>
                </p:nvSpPr>
                <p:spPr bwMode="auto">
                  <a:xfrm>
                    <a:off x="9442450" y="771526"/>
                    <a:ext cx="158750" cy="160338"/>
                  </a:xfrm>
                  <a:custGeom>
                    <a:avLst/>
                    <a:gdLst>
                      <a:gd name="T0" fmla="*/ 433 w 503"/>
                      <a:gd name="T1" fmla="*/ 110 h 504"/>
                      <a:gd name="T2" fmla="*/ 429 w 503"/>
                      <a:gd name="T3" fmla="*/ 37 h 504"/>
                      <a:gd name="T4" fmla="*/ 435 w 503"/>
                      <a:gd name="T5" fmla="*/ 31 h 504"/>
                      <a:gd name="T6" fmla="*/ 442 w 503"/>
                      <a:gd name="T7" fmla="*/ 30 h 504"/>
                      <a:gd name="T8" fmla="*/ 451 w 503"/>
                      <a:gd name="T9" fmla="*/ 31 h 504"/>
                      <a:gd name="T10" fmla="*/ 460 w 503"/>
                      <a:gd name="T11" fmla="*/ 36 h 504"/>
                      <a:gd name="T12" fmla="*/ 466 w 503"/>
                      <a:gd name="T13" fmla="*/ 43 h 504"/>
                      <a:gd name="T14" fmla="*/ 471 w 503"/>
                      <a:gd name="T15" fmla="*/ 52 h 504"/>
                      <a:gd name="T16" fmla="*/ 473 w 503"/>
                      <a:gd name="T17" fmla="*/ 65 h 504"/>
                      <a:gd name="T18" fmla="*/ 467 w 503"/>
                      <a:gd name="T19" fmla="*/ 75 h 504"/>
                      <a:gd name="T20" fmla="*/ 111 w 503"/>
                      <a:gd name="T21" fmla="*/ 431 h 504"/>
                      <a:gd name="T22" fmla="*/ 72 w 503"/>
                      <a:gd name="T23" fmla="*/ 393 h 504"/>
                      <a:gd name="T24" fmla="*/ 411 w 503"/>
                      <a:gd name="T25" fmla="*/ 131 h 504"/>
                      <a:gd name="T26" fmla="*/ 499 w 503"/>
                      <a:gd name="T27" fmla="*/ 40 h 504"/>
                      <a:gd name="T28" fmla="*/ 489 w 503"/>
                      <a:gd name="T29" fmla="*/ 24 h 504"/>
                      <a:gd name="T30" fmla="*/ 476 w 503"/>
                      <a:gd name="T31" fmla="*/ 11 h 504"/>
                      <a:gd name="T32" fmla="*/ 460 w 503"/>
                      <a:gd name="T33" fmla="*/ 4 h 504"/>
                      <a:gd name="T34" fmla="*/ 442 w 503"/>
                      <a:gd name="T35" fmla="*/ 0 h 504"/>
                      <a:gd name="T36" fmla="*/ 424 w 503"/>
                      <a:gd name="T37" fmla="*/ 4 h 504"/>
                      <a:gd name="T38" fmla="*/ 407 w 503"/>
                      <a:gd name="T39" fmla="*/ 15 h 504"/>
                      <a:gd name="T40" fmla="*/ 47 w 503"/>
                      <a:gd name="T41" fmla="*/ 376 h 504"/>
                      <a:gd name="T42" fmla="*/ 1 w 503"/>
                      <a:gd name="T43" fmla="*/ 483 h 504"/>
                      <a:gd name="T44" fmla="*/ 0 w 503"/>
                      <a:gd name="T45" fmla="*/ 492 h 504"/>
                      <a:gd name="T46" fmla="*/ 4 w 503"/>
                      <a:gd name="T47" fmla="*/ 500 h 504"/>
                      <a:gd name="T48" fmla="*/ 9 w 503"/>
                      <a:gd name="T49" fmla="*/ 503 h 504"/>
                      <a:gd name="T50" fmla="*/ 15 w 503"/>
                      <a:gd name="T51" fmla="*/ 504 h 504"/>
                      <a:gd name="T52" fmla="*/ 20 w 503"/>
                      <a:gd name="T53" fmla="*/ 503 h 504"/>
                      <a:gd name="T54" fmla="*/ 127 w 503"/>
                      <a:gd name="T55" fmla="*/ 457 h 504"/>
                      <a:gd name="T56" fmla="*/ 488 w 503"/>
                      <a:gd name="T57" fmla="*/ 96 h 504"/>
                      <a:gd name="T58" fmla="*/ 497 w 503"/>
                      <a:gd name="T59" fmla="*/ 84 h 504"/>
                      <a:gd name="T60" fmla="*/ 502 w 503"/>
                      <a:gd name="T61" fmla="*/ 70 h 504"/>
                      <a:gd name="T62" fmla="*/ 503 w 503"/>
                      <a:gd name="T63" fmla="*/ 55 h 504"/>
                      <a:gd name="T64" fmla="*/ 499 w 503"/>
                      <a:gd name="T65" fmla="*/ 4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3" h="504">
                        <a:moveTo>
                          <a:pt x="467" y="75"/>
                        </a:moveTo>
                        <a:lnTo>
                          <a:pt x="433" y="110"/>
                        </a:lnTo>
                        <a:lnTo>
                          <a:pt x="394" y="71"/>
                        </a:lnTo>
                        <a:lnTo>
                          <a:pt x="429" y="37"/>
                        </a:lnTo>
                        <a:lnTo>
                          <a:pt x="432" y="34"/>
                        </a:lnTo>
                        <a:lnTo>
                          <a:pt x="435" y="31"/>
                        </a:lnTo>
                        <a:lnTo>
                          <a:pt x="439" y="30"/>
                        </a:lnTo>
                        <a:lnTo>
                          <a:pt x="442" y="30"/>
                        </a:lnTo>
                        <a:lnTo>
                          <a:pt x="447" y="30"/>
                        </a:lnTo>
                        <a:lnTo>
                          <a:pt x="451" y="31"/>
                        </a:lnTo>
                        <a:lnTo>
                          <a:pt x="455" y="34"/>
                        </a:lnTo>
                        <a:lnTo>
                          <a:pt x="460" y="36"/>
                        </a:lnTo>
                        <a:lnTo>
                          <a:pt x="463" y="39"/>
                        </a:lnTo>
                        <a:lnTo>
                          <a:pt x="466" y="43"/>
                        </a:lnTo>
                        <a:lnTo>
                          <a:pt x="469" y="48"/>
                        </a:lnTo>
                        <a:lnTo>
                          <a:pt x="471" y="52"/>
                        </a:lnTo>
                        <a:lnTo>
                          <a:pt x="473" y="58"/>
                        </a:lnTo>
                        <a:lnTo>
                          <a:pt x="473" y="65"/>
                        </a:lnTo>
                        <a:lnTo>
                          <a:pt x="471" y="70"/>
                        </a:lnTo>
                        <a:lnTo>
                          <a:pt x="467" y="75"/>
                        </a:lnTo>
                        <a:lnTo>
                          <a:pt x="467" y="75"/>
                        </a:lnTo>
                        <a:close/>
                        <a:moveTo>
                          <a:pt x="111" y="431"/>
                        </a:moveTo>
                        <a:lnTo>
                          <a:pt x="42" y="460"/>
                        </a:lnTo>
                        <a:lnTo>
                          <a:pt x="72" y="393"/>
                        </a:lnTo>
                        <a:lnTo>
                          <a:pt x="373" y="91"/>
                        </a:lnTo>
                        <a:lnTo>
                          <a:pt x="411" y="131"/>
                        </a:lnTo>
                        <a:lnTo>
                          <a:pt x="111" y="431"/>
                        </a:lnTo>
                        <a:close/>
                        <a:moveTo>
                          <a:pt x="499" y="40"/>
                        </a:moveTo>
                        <a:lnTo>
                          <a:pt x="495" y="31"/>
                        </a:lnTo>
                        <a:lnTo>
                          <a:pt x="489" y="24"/>
                        </a:lnTo>
                        <a:lnTo>
                          <a:pt x="483" y="18"/>
                        </a:lnTo>
                        <a:lnTo>
                          <a:pt x="476" y="11"/>
                        </a:lnTo>
                        <a:lnTo>
                          <a:pt x="468" y="7"/>
                        </a:lnTo>
                        <a:lnTo>
                          <a:pt x="460" y="4"/>
                        </a:lnTo>
                        <a:lnTo>
                          <a:pt x="451" y="0"/>
                        </a:lnTo>
                        <a:lnTo>
                          <a:pt x="442" y="0"/>
                        </a:lnTo>
                        <a:lnTo>
                          <a:pt x="433" y="2"/>
                        </a:lnTo>
                        <a:lnTo>
                          <a:pt x="424" y="4"/>
                        </a:lnTo>
                        <a:lnTo>
                          <a:pt x="415" y="9"/>
                        </a:lnTo>
                        <a:lnTo>
                          <a:pt x="407" y="15"/>
                        </a:lnTo>
                        <a:lnTo>
                          <a:pt x="49" y="374"/>
                        </a:lnTo>
                        <a:lnTo>
                          <a:pt x="47" y="376"/>
                        </a:lnTo>
                        <a:lnTo>
                          <a:pt x="46" y="379"/>
                        </a:lnTo>
                        <a:lnTo>
                          <a:pt x="1" y="483"/>
                        </a:lnTo>
                        <a:lnTo>
                          <a:pt x="0" y="487"/>
                        </a:lnTo>
                        <a:lnTo>
                          <a:pt x="0" y="492"/>
                        </a:lnTo>
                        <a:lnTo>
                          <a:pt x="1" y="496"/>
                        </a:lnTo>
                        <a:lnTo>
                          <a:pt x="4" y="500"/>
                        </a:lnTo>
                        <a:lnTo>
                          <a:pt x="6" y="502"/>
                        </a:lnTo>
                        <a:lnTo>
                          <a:pt x="9" y="503"/>
                        </a:lnTo>
                        <a:lnTo>
                          <a:pt x="11" y="504"/>
                        </a:lnTo>
                        <a:lnTo>
                          <a:pt x="15" y="504"/>
                        </a:lnTo>
                        <a:lnTo>
                          <a:pt x="18" y="504"/>
                        </a:lnTo>
                        <a:lnTo>
                          <a:pt x="20" y="503"/>
                        </a:lnTo>
                        <a:lnTo>
                          <a:pt x="125" y="458"/>
                        </a:lnTo>
                        <a:lnTo>
                          <a:pt x="127" y="457"/>
                        </a:lnTo>
                        <a:lnTo>
                          <a:pt x="129" y="455"/>
                        </a:lnTo>
                        <a:lnTo>
                          <a:pt x="488" y="96"/>
                        </a:lnTo>
                        <a:lnTo>
                          <a:pt x="494" y="90"/>
                        </a:lnTo>
                        <a:lnTo>
                          <a:pt x="497" y="84"/>
                        </a:lnTo>
                        <a:lnTo>
                          <a:pt x="500" y="77"/>
                        </a:lnTo>
                        <a:lnTo>
                          <a:pt x="502" y="70"/>
                        </a:lnTo>
                        <a:lnTo>
                          <a:pt x="503" y="63"/>
                        </a:lnTo>
                        <a:lnTo>
                          <a:pt x="503" y="55"/>
                        </a:lnTo>
                        <a:lnTo>
                          <a:pt x="501" y="48"/>
                        </a:lnTo>
                        <a:lnTo>
                          <a:pt x="499" y="40"/>
                        </a:lnTo>
                        <a:close/>
                      </a:path>
                    </a:pathLst>
                  </a:custGeom>
                  <a:gradFill>
                    <a:gsLst>
                      <a:gs pos="0">
                        <a:schemeClr val="tx2"/>
                      </a:gs>
                      <a:gs pos="100000">
                        <a:schemeClr val="bg2"/>
                      </a:gs>
                    </a:gsLst>
                    <a:lin ang="2700000" scaled="0"/>
                  </a:gradFill>
                  <a:ln>
                    <a:noFill/>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grpSp>
            <p:nvGrpSpPr>
              <p:cNvPr id="13" name="Group 12"/>
              <p:cNvGrpSpPr/>
              <p:nvPr/>
            </p:nvGrpSpPr>
            <p:grpSpPr>
              <a:xfrm>
                <a:off x="3477748" y="1582843"/>
                <a:ext cx="1804669" cy="575048"/>
                <a:chOff x="3669666" y="1229864"/>
                <a:chExt cx="1804669" cy="575048"/>
              </a:xfrm>
            </p:grpSpPr>
            <p:sp>
              <p:nvSpPr>
                <p:cNvPr id="10" name="TextBox 9"/>
                <p:cNvSpPr txBox="1"/>
                <p:nvPr/>
              </p:nvSpPr>
              <p:spPr>
                <a:xfrm>
                  <a:off x="3669666" y="1312469"/>
                  <a:ext cx="1804669" cy="492443"/>
                </a:xfrm>
                <a:prstGeom prst="rect">
                  <a:avLst/>
                </a:prstGeom>
                <a:noFill/>
                <a:ln w="6350">
                  <a:noFill/>
                  <a:prstDash val="dash"/>
                </a:ln>
              </p:spPr>
              <p:txBody>
                <a:bodyPr wrap="square" lIns="0" tIns="0" rIns="0" bIns="0" rtlCol="0">
                  <a:spAutoFit/>
                </a:bodyPr>
                <a:lstStyle/>
                <a:p>
                  <a:pPr algn="ctr"/>
                  <a:r>
                    <a:rPr lang="en-US" sz="3200" b="1" dirty="0">
                      <a:solidFill>
                        <a:schemeClr val="bg1"/>
                      </a:solidFill>
                    </a:rPr>
                    <a:t>ABOUT </a:t>
                  </a:r>
                  <a:r>
                    <a:rPr lang="en-US" sz="3200" dirty="0">
                      <a:solidFill>
                        <a:schemeClr val="bg1"/>
                      </a:solidFill>
                    </a:rPr>
                    <a:t>US</a:t>
                  </a:r>
                </a:p>
              </p:txBody>
            </p:sp>
            <p:sp>
              <p:nvSpPr>
                <p:cNvPr id="12" name="Line 6"/>
                <p:cNvSpPr>
                  <a:spLocks noChangeShapeType="1"/>
                </p:cNvSpPr>
                <p:nvPr/>
              </p:nvSpPr>
              <p:spPr bwMode="auto">
                <a:xfrm>
                  <a:off x="4390231" y="1229864"/>
                  <a:ext cx="363538" cy="0"/>
                </a:xfrm>
                <a:prstGeom prst="line">
                  <a:avLst/>
                </a:prstGeom>
                <a:noFill/>
                <a:ln w="571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grpSp>
    </p:spTree>
    <p:extLst>
      <p:ext uri="{BB962C8B-B14F-4D97-AF65-F5344CB8AC3E}">
        <p14:creationId xmlns:p14="http://schemas.microsoft.com/office/powerpoint/2010/main" val="3796107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Placeholder 40" descr="A picture containing outdoor, bus, parked, decker&#10;&#10;Description automatically generated">
            <a:extLst>
              <a:ext uri="{FF2B5EF4-FFF2-40B4-BE49-F238E27FC236}">
                <a16:creationId xmlns:a16="http://schemas.microsoft.com/office/drawing/2014/main" id="{BE25E1C9-5E1D-4262-B710-73952A99C706}"/>
              </a:ext>
            </a:extLst>
          </p:cNvPr>
          <p:cNvPicPr>
            <a:picLocks noGrp="1" noChangeAspect="1"/>
          </p:cNvPicPr>
          <p:nvPr>
            <p:ph type="pic" sz="quarter" idx="10"/>
          </p:nvPr>
        </p:nvPicPr>
        <p:blipFill>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25205" b="25205"/>
          <a:stretch>
            <a:fillRect/>
          </a:stretch>
        </p:blipFill>
        <p:spPr/>
      </p:pic>
      <p:sp>
        <p:nvSpPr>
          <p:cNvPr id="4" name="Line 6"/>
          <p:cNvSpPr>
            <a:spLocks noChangeShapeType="1"/>
          </p:cNvSpPr>
          <p:nvPr/>
        </p:nvSpPr>
        <p:spPr bwMode="auto">
          <a:xfrm>
            <a:off x="2877250" y="4997925"/>
            <a:ext cx="363538"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ctr"/>
            <a:endParaRPr lang="en-US">
              <a:solidFill>
                <a:schemeClr val="tx1">
                  <a:lumMod val="75000"/>
                  <a:lumOff val="25000"/>
                </a:schemeClr>
              </a:solidFill>
            </a:endParaRPr>
          </a:p>
        </p:txBody>
      </p:sp>
      <p:sp>
        <p:nvSpPr>
          <p:cNvPr id="5" name="TextBox 4"/>
          <p:cNvSpPr txBox="1"/>
          <p:nvPr/>
        </p:nvSpPr>
        <p:spPr>
          <a:xfrm>
            <a:off x="1305785" y="4453811"/>
            <a:ext cx="3506469" cy="492443"/>
          </a:xfrm>
          <a:prstGeom prst="rect">
            <a:avLst/>
          </a:prstGeom>
          <a:noFill/>
          <a:ln w="6350">
            <a:noFill/>
            <a:prstDash val="dash"/>
          </a:ln>
        </p:spPr>
        <p:txBody>
          <a:bodyPr wrap="square" lIns="0" tIns="0" rIns="0" bIns="0" rtlCol="0">
            <a:spAutoFit/>
          </a:bodyPr>
          <a:lstStyle/>
          <a:p>
            <a:pPr algn="ctr"/>
            <a:r>
              <a:rPr lang="en-US" sz="3200" b="1" dirty="0">
                <a:solidFill>
                  <a:schemeClr val="tx1">
                    <a:lumMod val="75000"/>
                    <a:lumOff val="25000"/>
                  </a:schemeClr>
                </a:solidFill>
              </a:rPr>
              <a:t>OUR </a:t>
            </a:r>
            <a:r>
              <a:rPr lang="en-US" sz="3200" dirty="0">
                <a:solidFill>
                  <a:schemeClr val="tx1">
                    <a:lumMod val="75000"/>
                    <a:lumOff val="25000"/>
                  </a:schemeClr>
                </a:solidFill>
              </a:rPr>
              <a:t>VISION</a:t>
            </a:r>
          </a:p>
        </p:txBody>
      </p:sp>
      <p:sp>
        <p:nvSpPr>
          <p:cNvPr id="6" name="TextBox 5"/>
          <p:cNvSpPr txBox="1"/>
          <p:nvPr/>
        </p:nvSpPr>
        <p:spPr>
          <a:xfrm>
            <a:off x="957675" y="5258318"/>
            <a:ext cx="4202689" cy="369332"/>
          </a:xfrm>
          <a:prstGeom prst="rect">
            <a:avLst/>
          </a:prstGeom>
          <a:noFill/>
          <a:ln w="6350">
            <a:noFill/>
            <a:prstDash val="dash"/>
          </a:ln>
        </p:spPr>
        <p:txBody>
          <a:bodyPr wrap="square" lIns="0" tIns="0" rIns="0" bIns="0" rtlCol="0">
            <a:spAutoFit/>
          </a:bodyPr>
          <a:lstStyle/>
          <a:p>
            <a:pPr algn="ctr"/>
            <a:r>
              <a:rPr lang="en-US" sz="1200" dirty="0">
                <a:solidFill>
                  <a:schemeClr val="tx1">
                    <a:lumMod val="75000"/>
                    <a:lumOff val="25000"/>
                  </a:schemeClr>
                </a:solidFill>
              </a:rPr>
              <a:t>To create value for customers by providing them with world class products and services. </a:t>
            </a:r>
          </a:p>
        </p:txBody>
      </p:sp>
      <p:sp>
        <p:nvSpPr>
          <p:cNvPr id="8" name="Line 6"/>
          <p:cNvSpPr>
            <a:spLocks noChangeShapeType="1"/>
          </p:cNvSpPr>
          <p:nvPr/>
        </p:nvSpPr>
        <p:spPr bwMode="auto">
          <a:xfrm>
            <a:off x="8951212" y="4997925"/>
            <a:ext cx="363538"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ctr"/>
            <a:endParaRPr lang="en-US">
              <a:solidFill>
                <a:schemeClr val="tx1">
                  <a:lumMod val="75000"/>
                  <a:lumOff val="25000"/>
                </a:schemeClr>
              </a:solidFill>
            </a:endParaRPr>
          </a:p>
        </p:txBody>
      </p:sp>
      <p:sp>
        <p:nvSpPr>
          <p:cNvPr id="9" name="TextBox 8"/>
          <p:cNvSpPr txBox="1"/>
          <p:nvPr/>
        </p:nvSpPr>
        <p:spPr>
          <a:xfrm>
            <a:off x="7379748" y="4453811"/>
            <a:ext cx="3506469" cy="492443"/>
          </a:xfrm>
          <a:prstGeom prst="rect">
            <a:avLst/>
          </a:prstGeom>
          <a:noFill/>
          <a:ln w="6350">
            <a:noFill/>
            <a:prstDash val="dash"/>
          </a:ln>
        </p:spPr>
        <p:txBody>
          <a:bodyPr wrap="square" lIns="0" tIns="0" rIns="0" bIns="0" rtlCol="0">
            <a:spAutoFit/>
          </a:bodyPr>
          <a:lstStyle/>
          <a:p>
            <a:pPr algn="ctr"/>
            <a:r>
              <a:rPr lang="en-US" sz="3200" b="1" dirty="0">
                <a:solidFill>
                  <a:schemeClr val="tx1">
                    <a:lumMod val="75000"/>
                    <a:lumOff val="25000"/>
                  </a:schemeClr>
                </a:solidFill>
              </a:rPr>
              <a:t>OUR </a:t>
            </a:r>
            <a:r>
              <a:rPr lang="en-US" sz="3200" dirty="0">
                <a:solidFill>
                  <a:schemeClr val="tx1">
                    <a:lumMod val="75000"/>
                    <a:lumOff val="25000"/>
                  </a:schemeClr>
                </a:solidFill>
              </a:rPr>
              <a:t>MISSION</a:t>
            </a:r>
          </a:p>
        </p:txBody>
      </p:sp>
      <p:sp>
        <p:nvSpPr>
          <p:cNvPr id="10" name="TextBox 9"/>
          <p:cNvSpPr txBox="1"/>
          <p:nvPr/>
        </p:nvSpPr>
        <p:spPr>
          <a:xfrm>
            <a:off x="7031637" y="5258318"/>
            <a:ext cx="4202689" cy="553998"/>
          </a:xfrm>
          <a:prstGeom prst="rect">
            <a:avLst/>
          </a:prstGeom>
          <a:noFill/>
          <a:ln w="6350">
            <a:noFill/>
            <a:prstDash val="dash"/>
          </a:ln>
        </p:spPr>
        <p:txBody>
          <a:bodyPr wrap="square" lIns="0" tIns="0" rIns="0" bIns="0" rtlCol="0">
            <a:spAutoFit/>
          </a:bodyPr>
          <a:lstStyle/>
          <a:p>
            <a:pPr algn="ctr"/>
            <a:r>
              <a:rPr lang="en-US" sz="1200" dirty="0">
                <a:solidFill>
                  <a:schemeClr val="tx1">
                    <a:lumMod val="75000"/>
                    <a:lumOff val="25000"/>
                  </a:schemeClr>
                </a:solidFill>
              </a:rPr>
              <a:t>Our mission is to establish a global name for ourselves as manufacturers of impeccable products while uplifting the society and our stakeholders.</a:t>
            </a:r>
          </a:p>
        </p:txBody>
      </p:sp>
      <p:sp>
        <p:nvSpPr>
          <p:cNvPr id="2" name="Rectangle 1"/>
          <p:cNvSpPr/>
          <p:nvPr/>
        </p:nvSpPr>
        <p:spPr>
          <a:xfrm>
            <a:off x="0" y="2221515"/>
            <a:ext cx="12192000" cy="1809448"/>
          </a:xfrm>
          <a:prstGeom prst="rect">
            <a:avLst/>
          </a:prstGeom>
          <a:solidFill>
            <a:srgbClr val="8AAAE5">
              <a:alpha val="9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Group 33"/>
          <p:cNvGrpSpPr/>
          <p:nvPr/>
        </p:nvGrpSpPr>
        <p:grpSpPr>
          <a:xfrm>
            <a:off x="-689105" y="2287957"/>
            <a:ext cx="11002718" cy="1603703"/>
            <a:chOff x="602978" y="2445590"/>
            <a:chExt cx="11002718" cy="1603703"/>
          </a:xfrm>
        </p:grpSpPr>
        <p:grpSp>
          <p:nvGrpSpPr>
            <p:cNvPr id="17" name="Group 16"/>
            <p:cNvGrpSpPr/>
            <p:nvPr/>
          </p:nvGrpSpPr>
          <p:grpSpPr>
            <a:xfrm>
              <a:off x="602978" y="3024467"/>
              <a:ext cx="2196473" cy="470828"/>
              <a:chOff x="1983449" y="3024467"/>
              <a:chExt cx="2196473" cy="470828"/>
            </a:xfrm>
          </p:grpSpPr>
          <p:sp>
            <p:nvSpPr>
              <p:cNvPr id="29" name="TextBox 28"/>
              <p:cNvSpPr txBox="1"/>
              <p:nvPr/>
            </p:nvSpPr>
            <p:spPr>
              <a:xfrm>
                <a:off x="1983449" y="3310629"/>
                <a:ext cx="2196473" cy="184666"/>
              </a:xfrm>
              <a:prstGeom prst="rect">
                <a:avLst/>
              </a:prstGeom>
              <a:noFill/>
              <a:ln w="6350">
                <a:noFill/>
                <a:prstDash val="dash"/>
              </a:ln>
            </p:spPr>
            <p:txBody>
              <a:bodyPr wrap="square" lIns="0" tIns="0" rIns="0" bIns="0" rtlCol="0">
                <a:spAutoFit/>
              </a:bodyPr>
              <a:lstStyle/>
              <a:p>
                <a:pPr algn="ctr"/>
                <a:endParaRPr lang="en-US" sz="1200" dirty="0">
                  <a:solidFill>
                    <a:schemeClr val="bg1"/>
                  </a:solidFill>
                </a:endParaRPr>
              </a:p>
            </p:txBody>
          </p:sp>
          <p:sp>
            <p:nvSpPr>
              <p:cNvPr id="30" name="TextBox 29"/>
              <p:cNvSpPr txBox="1"/>
              <p:nvPr/>
            </p:nvSpPr>
            <p:spPr>
              <a:xfrm>
                <a:off x="2145563" y="3024467"/>
                <a:ext cx="1872244" cy="246221"/>
              </a:xfrm>
              <a:prstGeom prst="rect">
                <a:avLst/>
              </a:prstGeom>
              <a:noFill/>
              <a:ln w="6350">
                <a:noFill/>
                <a:prstDash val="dash"/>
              </a:ln>
            </p:spPr>
            <p:txBody>
              <a:bodyPr wrap="square" lIns="0" tIns="0" rIns="0" bIns="0" rtlCol="0">
                <a:spAutoFit/>
              </a:bodyPr>
              <a:lstStyle/>
              <a:p>
                <a:pPr algn="ctr"/>
                <a:endParaRPr lang="en-US" sz="1600" b="1" dirty="0">
                  <a:solidFill>
                    <a:schemeClr val="bg1"/>
                  </a:solidFill>
                </a:endParaRPr>
              </a:p>
            </p:txBody>
          </p:sp>
        </p:grpSp>
        <p:grpSp>
          <p:nvGrpSpPr>
            <p:cNvPr id="18" name="Group 17"/>
            <p:cNvGrpSpPr/>
            <p:nvPr/>
          </p:nvGrpSpPr>
          <p:grpSpPr>
            <a:xfrm>
              <a:off x="3538393" y="2445590"/>
              <a:ext cx="2196473" cy="1419037"/>
              <a:chOff x="4197465" y="2445590"/>
              <a:chExt cx="2196473" cy="1419037"/>
            </a:xfrm>
          </p:grpSpPr>
          <p:sp>
            <p:nvSpPr>
              <p:cNvPr id="36" name="TextBox 35"/>
              <p:cNvSpPr txBox="1"/>
              <p:nvPr/>
            </p:nvSpPr>
            <p:spPr>
              <a:xfrm>
                <a:off x="4197465" y="3310629"/>
                <a:ext cx="2196473" cy="553998"/>
              </a:xfrm>
              <a:prstGeom prst="rect">
                <a:avLst/>
              </a:prstGeom>
              <a:noFill/>
              <a:ln w="6350">
                <a:noFill/>
                <a:prstDash val="dash"/>
              </a:ln>
            </p:spPr>
            <p:txBody>
              <a:bodyPr wrap="square" lIns="0" tIns="0" rIns="0" bIns="0" rtlCol="0">
                <a:spAutoFit/>
              </a:bodyPr>
              <a:lstStyle/>
              <a:p>
                <a:pPr algn="ctr"/>
                <a:r>
                  <a:rPr lang="en-US" sz="1200" dirty="0">
                    <a:solidFill>
                      <a:schemeClr val="bg1"/>
                    </a:solidFill>
                  </a:rPr>
                  <a:t>Our team of expert engineers, we are prompt in addressing any concerns or problems.</a:t>
                </a:r>
              </a:p>
            </p:txBody>
          </p:sp>
          <p:sp>
            <p:nvSpPr>
              <p:cNvPr id="38" name="TextBox 37"/>
              <p:cNvSpPr txBox="1"/>
              <p:nvPr/>
            </p:nvSpPr>
            <p:spPr>
              <a:xfrm>
                <a:off x="4278523" y="3024467"/>
                <a:ext cx="2034357" cy="246221"/>
              </a:xfrm>
              <a:prstGeom prst="rect">
                <a:avLst/>
              </a:prstGeom>
              <a:noFill/>
              <a:ln w="6350">
                <a:noFill/>
                <a:prstDash val="dash"/>
              </a:ln>
            </p:spPr>
            <p:txBody>
              <a:bodyPr wrap="square" lIns="0" tIns="0" rIns="0" bIns="0" rtlCol="0">
                <a:spAutoFit/>
              </a:bodyPr>
              <a:lstStyle/>
              <a:p>
                <a:pPr algn="ctr"/>
                <a:r>
                  <a:rPr lang="en-US" sz="1600" b="1" dirty="0">
                    <a:solidFill>
                      <a:schemeClr val="bg1"/>
                    </a:solidFill>
                  </a:rPr>
                  <a:t>GREAT SUPPORT</a:t>
                </a:r>
              </a:p>
            </p:txBody>
          </p:sp>
          <p:grpSp>
            <p:nvGrpSpPr>
              <p:cNvPr id="7" name="Group 6"/>
              <p:cNvGrpSpPr/>
              <p:nvPr/>
            </p:nvGrpSpPr>
            <p:grpSpPr>
              <a:xfrm>
                <a:off x="5026233" y="2445590"/>
                <a:ext cx="538936" cy="538936"/>
                <a:chOff x="4719523" y="2445590"/>
                <a:chExt cx="538936" cy="538936"/>
              </a:xfrm>
            </p:grpSpPr>
            <p:sp>
              <p:nvSpPr>
                <p:cNvPr id="40" name="Oval 39"/>
                <p:cNvSpPr/>
                <p:nvPr/>
              </p:nvSpPr>
              <p:spPr>
                <a:xfrm>
                  <a:off x="4719523" y="2445590"/>
                  <a:ext cx="538936" cy="538936"/>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8" name="Group 87"/>
                <p:cNvGrpSpPr>
                  <a:grpSpLocks noChangeAspect="1"/>
                </p:cNvGrpSpPr>
                <p:nvPr/>
              </p:nvGrpSpPr>
              <p:grpSpPr>
                <a:xfrm>
                  <a:off x="4849819" y="2571058"/>
                  <a:ext cx="278347" cy="288000"/>
                  <a:chOff x="7620000" y="1919288"/>
                  <a:chExt cx="274638" cy="284162"/>
                </a:xfrm>
              </p:grpSpPr>
              <p:sp>
                <p:nvSpPr>
                  <p:cNvPr id="89" name="Freeform 310"/>
                  <p:cNvSpPr>
                    <a:spLocks noEditPoints="1"/>
                  </p:cNvSpPr>
                  <p:nvPr/>
                </p:nvSpPr>
                <p:spPr bwMode="auto">
                  <a:xfrm>
                    <a:off x="7662863" y="2014538"/>
                    <a:ext cx="190500" cy="188912"/>
                  </a:xfrm>
                  <a:custGeom>
                    <a:avLst/>
                    <a:gdLst>
                      <a:gd name="T0" fmla="*/ 245 w 599"/>
                      <a:gd name="T1" fmla="*/ 563 h 599"/>
                      <a:gd name="T2" fmla="*/ 183 w 599"/>
                      <a:gd name="T3" fmla="*/ 542 h 599"/>
                      <a:gd name="T4" fmla="*/ 128 w 599"/>
                      <a:gd name="T5" fmla="*/ 507 h 599"/>
                      <a:gd name="T6" fmla="*/ 83 w 599"/>
                      <a:gd name="T7" fmla="*/ 460 h 599"/>
                      <a:gd name="T8" fmla="*/ 51 w 599"/>
                      <a:gd name="T9" fmla="*/ 404 h 599"/>
                      <a:gd name="T10" fmla="*/ 33 w 599"/>
                      <a:gd name="T11" fmla="*/ 340 h 599"/>
                      <a:gd name="T12" fmla="*/ 32 w 599"/>
                      <a:gd name="T13" fmla="*/ 272 h 599"/>
                      <a:gd name="T14" fmla="*/ 47 w 599"/>
                      <a:gd name="T15" fmla="*/ 207 h 599"/>
                      <a:gd name="T16" fmla="*/ 76 w 599"/>
                      <a:gd name="T17" fmla="*/ 149 h 599"/>
                      <a:gd name="T18" fmla="*/ 118 w 599"/>
                      <a:gd name="T19" fmla="*/ 101 h 599"/>
                      <a:gd name="T20" fmla="*/ 171 w 599"/>
                      <a:gd name="T21" fmla="*/ 63 h 599"/>
                      <a:gd name="T22" fmla="*/ 232 w 599"/>
                      <a:gd name="T23" fmla="*/ 38 h 599"/>
                      <a:gd name="T24" fmla="*/ 299 w 599"/>
                      <a:gd name="T25" fmla="*/ 30 h 599"/>
                      <a:gd name="T26" fmla="*/ 367 w 599"/>
                      <a:gd name="T27" fmla="*/ 38 h 599"/>
                      <a:gd name="T28" fmla="*/ 428 w 599"/>
                      <a:gd name="T29" fmla="*/ 63 h 599"/>
                      <a:gd name="T30" fmla="*/ 480 w 599"/>
                      <a:gd name="T31" fmla="*/ 101 h 599"/>
                      <a:gd name="T32" fmla="*/ 523 w 599"/>
                      <a:gd name="T33" fmla="*/ 149 h 599"/>
                      <a:gd name="T34" fmla="*/ 552 w 599"/>
                      <a:gd name="T35" fmla="*/ 207 h 599"/>
                      <a:gd name="T36" fmla="*/ 567 w 599"/>
                      <a:gd name="T37" fmla="*/ 272 h 599"/>
                      <a:gd name="T38" fmla="*/ 565 w 599"/>
                      <a:gd name="T39" fmla="*/ 340 h 599"/>
                      <a:gd name="T40" fmla="*/ 547 w 599"/>
                      <a:gd name="T41" fmla="*/ 404 h 599"/>
                      <a:gd name="T42" fmla="*/ 515 w 599"/>
                      <a:gd name="T43" fmla="*/ 460 h 599"/>
                      <a:gd name="T44" fmla="*/ 470 w 599"/>
                      <a:gd name="T45" fmla="*/ 507 h 599"/>
                      <a:gd name="T46" fmla="*/ 416 w 599"/>
                      <a:gd name="T47" fmla="*/ 542 h 599"/>
                      <a:gd name="T48" fmla="*/ 354 w 599"/>
                      <a:gd name="T49" fmla="*/ 563 h 599"/>
                      <a:gd name="T50" fmla="*/ 299 w 599"/>
                      <a:gd name="T51" fmla="*/ 0 h 599"/>
                      <a:gd name="T52" fmla="*/ 224 w 599"/>
                      <a:gd name="T53" fmla="*/ 10 h 599"/>
                      <a:gd name="T54" fmla="*/ 157 w 599"/>
                      <a:gd name="T55" fmla="*/ 36 h 599"/>
                      <a:gd name="T56" fmla="*/ 98 w 599"/>
                      <a:gd name="T57" fmla="*/ 78 h 599"/>
                      <a:gd name="T58" fmla="*/ 51 w 599"/>
                      <a:gd name="T59" fmla="*/ 133 h 599"/>
                      <a:gd name="T60" fmla="*/ 18 w 599"/>
                      <a:gd name="T61" fmla="*/ 197 h 599"/>
                      <a:gd name="T62" fmla="*/ 2 w 599"/>
                      <a:gd name="T63" fmla="*/ 268 h 599"/>
                      <a:gd name="T64" fmla="*/ 4 w 599"/>
                      <a:gd name="T65" fmla="*/ 344 h 599"/>
                      <a:gd name="T66" fmla="*/ 23 w 599"/>
                      <a:gd name="T67" fmla="*/ 416 h 599"/>
                      <a:gd name="T68" fmla="*/ 60 w 599"/>
                      <a:gd name="T69" fmla="*/ 478 h 599"/>
                      <a:gd name="T70" fmla="*/ 109 w 599"/>
                      <a:gd name="T71" fmla="*/ 530 h 599"/>
                      <a:gd name="T72" fmla="*/ 170 w 599"/>
                      <a:gd name="T73" fmla="*/ 569 h 599"/>
                      <a:gd name="T74" fmla="*/ 239 w 599"/>
                      <a:gd name="T75" fmla="*/ 592 h 599"/>
                      <a:gd name="T76" fmla="*/ 314 w 599"/>
                      <a:gd name="T77" fmla="*/ 598 h 599"/>
                      <a:gd name="T78" fmla="*/ 388 w 599"/>
                      <a:gd name="T79" fmla="*/ 585 h 599"/>
                      <a:gd name="T80" fmla="*/ 454 w 599"/>
                      <a:gd name="T81" fmla="*/ 555 h 599"/>
                      <a:gd name="T82" fmla="*/ 511 w 599"/>
                      <a:gd name="T83" fmla="*/ 511 h 599"/>
                      <a:gd name="T84" fmla="*/ 555 w 599"/>
                      <a:gd name="T85" fmla="*/ 455 h 599"/>
                      <a:gd name="T86" fmla="*/ 585 w 599"/>
                      <a:gd name="T87" fmla="*/ 388 h 599"/>
                      <a:gd name="T88" fmla="*/ 598 w 599"/>
                      <a:gd name="T89" fmla="*/ 314 h 599"/>
                      <a:gd name="T90" fmla="*/ 592 w 599"/>
                      <a:gd name="T91" fmla="*/ 240 h 599"/>
                      <a:gd name="T92" fmla="*/ 569 w 599"/>
                      <a:gd name="T93" fmla="*/ 170 h 599"/>
                      <a:gd name="T94" fmla="*/ 530 w 599"/>
                      <a:gd name="T95" fmla="*/ 109 h 599"/>
                      <a:gd name="T96" fmla="*/ 478 w 599"/>
                      <a:gd name="T97" fmla="*/ 60 h 599"/>
                      <a:gd name="T98" fmla="*/ 416 w 599"/>
                      <a:gd name="T99" fmla="*/ 24 h 599"/>
                      <a:gd name="T100" fmla="*/ 345 w 599"/>
                      <a:gd name="T101" fmla="*/ 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9" h="599">
                        <a:moveTo>
                          <a:pt x="299" y="569"/>
                        </a:moveTo>
                        <a:lnTo>
                          <a:pt x="285" y="568"/>
                        </a:lnTo>
                        <a:lnTo>
                          <a:pt x="271" y="567"/>
                        </a:lnTo>
                        <a:lnTo>
                          <a:pt x="259" y="566"/>
                        </a:lnTo>
                        <a:lnTo>
                          <a:pt x="245" y="563"/>
                        </a:lnTo>
                        <a:lnTo>
                          <a:pt x="232" y="560"/>
                        </a:lnTo>
                        <a:lnTo>
                          <a:pt x="219" y="556"/>
                        </a:lnTo>
                        <a:lnTo>
                          <a:pt x="207" y="552"/>
                        </a:lnTo>
                        <a:lnTo>
                          <a:pt x="194" y="548"/>
                        </a:lnTo>
                        <a:lnTo>
                          <a:pt x="183" y="542"/>
                        </a:lnTo>
                        <a:lnTo>
                          <a:pt x="171" y="536"/>
                        </a:lnTo>
                        <a:lnTo>
                          <a:pt x="160" y="529"/>
                        </a:lnTo>
                        <a:lnTo>
                          <a:pt x="148" y="523"/>
                        </a:lnTo>
                        <a:lnTo>
                          <a:pt x="139" y="515"/>
                        </a:lnTo>
                        <a:lnTo>
                          <a:pt x="128" y="507"/>
                        </a:lnTo>
                        <a:lnTo>
                          <a:pt x="118" y="498"/>
                        </a:lnTo>
                        <a:lnTo>
                          <a:pt x="109" y="490"/>
                        </a:lnTo>
                        <a:lnTo>
                          <a:pt x="100" y="480"/>
                        </a:lnTo>
                        <a:lnTo>
                          <a:pt x="92" y="471"/>
                        </a:lnTo>
                        <a:lnTo>
                          <a:pt x="83" y="460"/>
                        </a:lnTo>
                        <a:lnTo>
                          <a:pt x="76" y="450"/>
                        </a:lnTo>
                        <a:lnTo>
                          <a:pt x="69" y="438"/>
                        </a:lnTo>
                        <a:lnTo>
                          <a:pt x="63" y="428"/>
                        </a:lnTo>
                        <a:lnTo>
                          <a:pt x="56" y="416"/>
                        </a:lnTo>
                        <a:lnTo>
                          <a:pt x="51" y="404"/>
                        </a:lnTo>
                        <a:lnTo>
                          <a:pt x="47" y="391"/>
                        </a:lnTo>
                        <a:lnTo>
                          <a:pt x="43" y="380"/>
                        </a:lnTo>
                        <a:lnTo>
                          <a:pt x="38" y="367"/>
                        </a:lnTo>
                        <a:lnTo>
                          <a:pt x="35" y="354"/>
                        </a:lnTo>
                        <a:lnTo>
                          <a:pt x="33" y="340"/>
                        </a:lnTo>
                        <a:lnTo>
                          <a:pt x="32" y="327"/>
                        </a:lnTo>
                        <a:lnTo>
                          <a:pt x="31" y="313"/>
                        </a:lnTo>
                        <a:lnTo>
                          <a:pt x="30" y="299"/>
                        </a:lnTo>
                        <a:lnTo>
                          <a:pt x="31" y="286"/>
                        </a:lnTo>
                        <a:lnTo>
                          <a:pt x="32" y="272"/>
                        </a:lnTo>
                        <a:lnTo>
                          <a:pt x="33" y="259"/>
                        </a:lnTo>
                        <a:lnTo>
                          <a:pt x="35" y="245"/>
                        </a:lnTo>
                        <a:lnTo>
                          <a:pt x="38" y="232"/>
                        </a:lnTo>
                        <a:lnTo>
                          <a:pt x="43" y="219"/>
                        </a:lnTo>
                        <a:lnTo>
                          <a:pt x="47" y="207"/>
                        </a:lnTo>
                        <a:lnTo>
                          <a:pt x="51" y="195"/>
                        </a:lnTo>
                        <a:lnTo>
                          <a:pt x="56" y="183"/>
                        </a:lnTo>
                        <a:lnTo>
                          <a:pt x="63" y="171"/>
                        </a:lnTo>
                        <a:lnTo>
                          <a:pt x="69" y="160"/>
                        </a:lnTo>
                        <a:lnTo>
                          <a:pt x="76" y="149"/>
                        </a:lnTo>
                        <a:lnTo>
                          <a:pt x="83" y="138"/>
                        </a:lnTo>
                        <a:lnTo>
                          <a:pt x="92" y="128"/>
                        </a:lnTo>
                        <a:lnTo>
                          <a:pt x="100" y="119"/>
                        </a:lnTo>
                        <a:lnTo>
                          <a:pt x="109" y="109"/>
                        </a:lnTo>
                        <a:lnTo>
                          <a:pt x="118" y="101"/>
                        </a:lnTo>
                        <a:lnTo>
                          <a:pt x="128" y="92"/>
                        </a:lnTo>
                        <a:lnTo>
                          <a:pt x="139" y="83"/>
                        </a:lnTo>
                        <a:lnTo>
                          <a:pt x="148" y="76"/>
                        </a:lnTo>
                        <a:lnTo>
                          <a:pt x="160" y="70"/>
                        </a:lnTo>
                        <a:lnTo>
                          <a:pt x="171" y="63"/>
                        </a:lnTo>
                        <a:lnTo>
                          <a:pt x="183" y="57"/>
                        </a:lnTo>
                        <a:lnTo>
                          <a:pt x="194" y="51"/>
                        </a:lnTo>
                        <a:lnTo>
                          <a:pt x="207" y="47"/>
                        </a:lnTo>
                        <a:lnTo>
                          <a:pt x="219" y="43"/>
                        </a:lnTo>
                        <a:lnTo>
                          <a:pt x="232" y="38"/>
                        </a:lnTo>
                        <a:lnTo>
                          <a:pt x="245" y="35"/>
                        </a:lnTo>
                        <a:lnTo>
                          <a:pt x="259" y="33"/>
                        </a:lnTo>
                        <a:lnTo>
                          <a:pt x="271" y="32"/>
                        </a:lnTo>
                        <a:lnTo>
                          <a:pt x="285" y="31"/>
                        </a:lnTo>
                        <a:lnTo>
                          <a:pt x="299" y="30"/>
                        </a:lnTo>
                        <a:lnTo>
                          <a:pt x="313" y="31"/>
                        </a:lnTo>
                        <a:lnTo>
                          <a:pt x="327" y="32"/>
                        </a:lnTo>
                        <a:lnTo>
                          <a:pt x="340" y="33"/>
                        </a:lnTo>
                        <a:lnTo>
                          <a:pt x="354" y="35"/>
                        </a:lnTo>
                        <a:lnTo>
                          <a:pt x="367" y="38"/>
                        </a:lnTo>
                        <a:lnTo>
                          <a:pt x="379" y="43"/>
                        </a:lnTo>
                        <a:lnTo>
                          <a:pt x="391" y="47"/>
                        </a:lnTo>
                        <a:lnTo>
                          <a:pt x="404" y="51"/>
                        </a:lnTo>
                        <a:lnTo>
                          <a:pt x="416" y="57"/>
                        </a:lnTo>
                        <a:lnTo>
                          <a:pt x="428" y="63"/>
                        </a:lnTo>
                        <a:lnTo>
                          <a:pt x="438" y="70"/>
                        </a:lnTo>
                        <a:lnTo>
                          <a:pt x="450" y="76"/>
                        </a:lnTo>
                        <a:lnTo>
                          <a:pt x="460" y="83"/>
                        </a:lnTo>
                        <a:lnTo>
                          <a:pt x="470" y="92"/>
                        </a:lnTo>
                        <a:lnTo>
                          <a:pt x="480" y="101"/>
                        </a:lnTo>
                        <a:lnTo>
                          <a:pt x="490" y="109"/>
                        </a:lnTo>
                        <a:lnTo>
                          <a:pt x="498" y="119"/>
                        </a:lnTo>
                        <a:lnTo>
                          <a:pt x="507" y="128"/>
                        </a:lnTo>
                        <a:lnTo>
                          <a:pt x="515" y="138"/>
                        </a:lnTo>
                        <a:lnTo>
                          <a:pt x="523" y="149"/>
                        </a:lnTo>
                        <a:lnTo>
                          <a:pt x="529" y="160"/>
                        </a:lnTo>
                        <a:lnTo>
                          <a:pt x="536" y="171"/>
                        </a:lnTo>
                        <a:lnTo>
                          <a:pt x="542" y="183"/>
                        </a:lnTo>
                        <a:lnTo>
                          <a:pt x="547" y="195"/>
                        </a:lnTo>
                        <a:lnTo>
                          <a:pt x="552" y="207"/>
                        </a:lnTo>
                        <a:lnTo>
                          <a:pt x="556" y="219"/>
                        </a:lnTo>
                        <a:lnTo>
                          <a:pt x="560" y="232"/>
                        </a:lnTo>
                        <a:lnTo>
                          <a:pt x="563" y="245"/>
                        </a:lnTo>
                        <a:lnTo>
                          <a:pt x="565" y="259"/>
                        </a:lnTo>
                        <a:lnTo>
                          <a:pt x="567" y="272"/>
                        </a:lnTo>
                        <a:lnTo>
                          <a:pt x="568" y="286"/>
                        </a:lnTo>
                        <a:lnTo>
                          <a:pt x="569" y="299"/>
                        </a:lnTo>
                        <a:lnTo>
                          <a:pt x="568" y="313"/>
                        </a:lnTo>
                        <a:lnTo>
                          <a:pt x="567" y="327"/>
                        </a:lnTo>
                        <a:lnTo>
                          <a:pt x="565" y="340"/>
                        </a:lnTo>
                        <a:lnTo>
                          <a:pt x="563" y="354"/>
                        </a:lnTo>
                        <a:lnTo>
                          <a:pt x="560" y="367"/>
                        </a:lnTo>
                        <a:lnTo>
                          <a:pt x="556" y="380"/>
                        </a:lnTo>
                        <a:lnTo>
                          <a:pt x="552" y="391"/>
                        </a:lnTo>
                        <a:lnTo>
                          <a:pt x="547" y="404"/>
                        </a:lnTo>
                        <a:lnTo>
                          <a:pt x="542" y="416"/>
                        </a:lnTo>
                        <a:lnTo>
                          <a:pt x="536" y="428"/>
                        </a:lnTo>
                        <a:lnTo>
                          <a:pt x="529" y="438"/>
                        </a:lnTo>
                        <a:lnTo>
                          <a:pt x="523" y="450"/>
                        </a:lnTo>
                        <a:lnTo>
                          <a:pt x="515" y="460"/>
                        </a:lnTo>
                        <a:lnTo>
                          <a:pt x="507" y="471"/>
                        </a:lnTo>
                        <a:lnTo>
                          <a:pt x="498" y="480"/>
                        </a:lnTo>
                        <a:lnTo>
                          <a:pt x="490" y="490"/>
                        </a:lnTo>
                        <a:lnTo>
                          <a:pt x="480" y="498"/>
                        </a:lnTo>
                        <a:lnTo>
                          <a:pt x="470" y="507"/>
                        </a:lnTo>
                        <a:lnTo>
                          <a:pt x="460" y="515"/>
                        </a:lnTo>
                        <a:lnTo>
                          <a:pt x="450" y="523"/>
                        </a:lnTo>
                        <a:lnTo>
                          <a:pt x="438" y="529"/>
                        </a:lnTo>
                        <a:lnTo>
                          <a:pt x="428" y="536"/>
                        </a:lnTo>
                        <a:lnTo>
                          <a:pt x="416" y="542"/>
                        </a:lnTo>
                        <a:lnTo>
                          <a:pt x="404" y="548"/>
                        </a:lnTo>
                        <a:lnTo>
                          <a:pt x="391" y="552"/>
                        </a:lnTo>
                        <a:lnTo>
                          <a:pt x="379" y="556"/>
                        </a:lnTo>
                        <a:lnTo>
                          <a:pt x="367" y="560"/>
                        </a:lnTo>
                        <a:lnTo>
                          <a:pt x="354" y="563"/>
                        </a:lnTo>
                        <a:lnTo>
                          <a:pt x="340" y="566"/>
                        </a:lnTo>
                        <a:lnTo>
                          <a:pt x="327" y="567"/>
                        </a:lnTo>
                        <a:lnTo>
                          <a:pt x="313" y="568"/>
                        </a:lnTo>
                        <a:lnTo>
                          <a:pt x="299" y="569"/>
                        </a:lnTo>
                        <a:close/>
                        <a:moveTo>
                          <a:pt x="299" y="0"/>
                        </a:moveTo>
                        <a:lnTo>
                          <a:pt x="284" y="1"/>
                        </a:lnTo>
                        <a:lnTo>
                          <a:pt x="268" y="2"/>
                        </a:lnTo>
                        <a:lnTo>
                          <a:pt x="253" y="4"/>
                        </a:lnTo>
                        <a:lnTo>
                          <a:pt x="239" y="6"/>
                        </a:lnTo>
                        <a:lnTo>
                          <a:pt x="224" y="10"/>
                        </a:lnTo>
                        <a:lnTo>
                          <a:pt x="210" y="14"/>
                        </a:lnTo>
                        <a:lnTo>
                          <a:pt x="197" y="18"/>
                        </a:lnTo>
                        <a:lnTo>
                          <a:pt x="183" y="24"/>
                        </a:lnTo>
                        <a:lnTo>
                          <a:pt x="170" y="30"/>
                        </a:lnTo>
                        <a:lnTo>
                          <a:pt x="157" y="36"/>
                        </a:lnTo>
                        <a:lnTo>
                          <a:pt x="144" y="44"/>
                        </a:lnTo>
                        <a:lnTo>
                          <a:pt x="132" y="51"/>
                        </a:lnTo>
                        <a:lnTo>
                          <a:pt x="121" y="60"/>
                        </a:lnTo>
                        <a:lnTo>
                          <a:pt x="109" y="68"/>
                        </a:lnTo>
                        <a:lnTo>
                          <a:pt x="98" y="78"/>
                        </a:lnTo>
                        <a:lnTo>
                          <a:pt x="87" y="88"/>
                        </a:lnTo>
                        <a:lnTo>
                          <a:pt x="78" y="98"/>
                        </a:lnTo>
                        <a:lnTo>
                          <a:pt x="68" y="109"/>
                        </a:lnTo>
                        <a:lnTo>
                          <a:pt x="60" y="121"/>
                        </a:lnTo>
                        <a:lnTo>
                          <a:pt x="51" y="133"/>
                        </a:lnTo>
                        <a:lnTo>
                          <a:pt x="44" y="144"/>
                        </a:lnTo>
                        <a:lnTo>
                          <a:pt x="36" y="157"/>
                        </a:lnTo>
                        <a:lnTo>
                          <a:pt x="30" y="170"/>
                        </a:lnTo>
                        <a:lnTo>
                          <a:pt x="23" y="183"/>
                        </a:lnTo>
                        <a:lnTo>
                          <a:pt x="18" y="197"/>
                        </a:lnTo>
                        <a:lnTo>
                          <a:pt x="14" y="211"/>
                        </a:lnTo>
                        <a:lnTo>
                          <a:pt x="9" y="225"/>
                        </a:lnTo>
                        <a:lnTo>
                          <a:pt x="6" y="240"/>
                        </a:lnTo>
                        <a:lnTo>
                          <a:pt x="4" y="253"/>
                        </a:lnTo>
                        <a:lnTo>
                          <a:pt x="2" y="268"/>
                        </a:lnTo>
                        <a:lnTo>
                          <a:pt x="1" y="284"/>
                        </a:lnTo>
                        <a:lnTo>
                          <a:pt x="0" y="299"/>
                        </a:lnTo>
                        <a:lnTo>
                          <a:pt x="1" y="314"/>
                        </a:lnTo>
                        <a:lnTo>
                          <a:pt x="2" y="330"/>
                        </a:lnTo>
                        <a:lnTo>
                          <a:pt x="4" y="344"/>
                        </a:lnTo>
                        <a:lnTo>
                          <a:pt x="6" y="359"/>
                        </a:lnTo>
                        <a:lnTo>
                          <a:pt x="9" y="374"/>
                        </a:lnTo>
                        <a:lnTo>
                          <a:pt x="14" y="388"/>
                        </a:lnTo>
                        <a:lnTo>
                          <a:pt x="18" y="402"/>
                        </a:lnTo>
                        <a:lnTo>
                          <a:pt x="23" y="416"/>
                        </a:lnTo>
                        <a:lnTo>
                          <a:pt x="30" y="429"/>
                        </a:lnTo>
                        <a:lnTo>
                          <a:pt x="36" y="442"/>
                        </a:lnTo>
                        <a:lnTo>
                          <a:pt x="44" y="455"/>
                        </a:lnTo>
                        <a:lnTo>
                          <a:pt x="51" y="466"/>
                        </a:lnTo>
                        <a:lnTo>
                          <a:pt x="60" y="478"/>
                        </a:lnTo>
                        <a:lnTo>
                          <a:pt x="68" y="490"/>
                        </a:lnTo>
                        <a:lnTo>
                          <a:pt x="78" y="501"/>
                        </a:lnTo>
                        <a:lnTo>
                          <a:pt x="87" y="511"/>
                        </a:lnTo>
                        <a:lnTo>
                          <a:pt x="98" y="521"/>
                        </a:lnTo>
                        <a:lnTo>
                          <a:pt x="109" y="530"/>
                        </a:lnTo>
                        <a:lnTo>
                          <a:pt x="121" y="539"/>
                        </a:lnTo>
                        <a:lnTo>
                          <a:pt x="132" y="548"/>
                        </a:lnTo>
                        <a:lnTo>
                          <a:pt x="144" y="555"/>
                        </a:lnTo>
                        <a:lnTo>
                          <a:pt x="157" y="563"/>
                        </a:lnTo>
                        <a:lnTo>
                          <a:pt x="170" y="569"/>
                        </a:lnTo>
                        <a:lnTo>
                          <a:pt x="183" y="575"/>
                        </a:lnTo>
                        <a:lnTo>
                          <a:pt x="197" y="581"/>
                        </a:lnTo>
                        <a:lnTo>
                          <a:pt x="210" y="585"/>
                        </a:lnTo>
                        <a:lnTo>
                          <a:pt x="224" y="589"/>
                        </a:lnTo>
                        <a:lnTo>
                          <a:pt x="239" y="592"/>
                        </a:lnTo>
                        <a:lnTo>
                          <a:pt x="253" y="595"/>
                        </a:lnTo>
                        <a:lnTo>
                          <a:pt x="268" y="597"/>
                        </a:lnTo>
                        <a:lnTo>
                          <a:pt x="284" y="598"/>
                        </a:lnTo>
                        <a:lnTo>
                          <a:pt x="299" y="599"/>
                        </a:lnTo>
                        <a:lnTo>
                          <a:pt x="314" y="598"/>
                        </a:lnTo>
                        <a:lnTo>
                          <a:pt x="330" y="597"/>
                        </a:lnTo>
                        <a:lnTo>
                          <a:pt x="345" y="595"/>
                        </a:lnTo>
                        <a:lnTo>
                          <a:pt x="359" y="592"/>
                        </a:lnTo>
                        <a:lnTo>
                          <a:pt x="374" y="589"/>
                        </a:lnTo>
                        <a:lnTo>
                          <a:pt x="388" y="585"/>
                        </a:lnTo>
                        <a:lnTo>
                          <a:pt x="402" y="581"/>
                        </a:lnTo>
                        <a:lnTo>
                          <a:pt x="416" y="575"/>
                        </a:lnTo>
                        <a:lnTo>
                          <a:pt x="429" y="569"/>
                        </a:lnTo>
                        <a:lnTo>
                          <a:pt x="441" y="563"/>
                        </a:lnTo>
                        <a:lnTo>
                          <a:pt x="454" y="555"/>
                        </a:lnTo>
                        <a:lnTo>
                          <a:pt x="466" y="548"/>
                        </a:lnTo>
                        <a:lnTo>
                          <a:pt x="478" y="539"/>
                        </a:lnTo>
                        <a:lnTo>
                          <a:pt x="490" y="530"/>
                        </a:lnTo>
                        <a:lnTo>
                          <a:pt x="500" y="521"/>
                        </a:lnTo>
                        <a:lnTo>
                          <a:pt x="511" y="511"/>
                        </a:lnTo>
                        <a:lnTo>
                          <a:pt x="521" y="501"/>
                        </a:lnTo>
                        <a:lnTo>
                          <a:pt x="530" y="490"/>
                        </a:lnTo>
                        <a:lnTo>
                          <a:pt x="539" y="478"/>
                        </a:lnTo>
                        <a:lnTo>
                          <a:pt x="547" y="466"/>
                        </a:lnTo>
                        <a:lnTo>
                          <a:pt x="555" y="455"/>
                        </a:lnTo>
                        <a:lnTo>
                          <a:pt x="562" y="442"/>
                        </a:lnTo>
                        <a:lnTo>
                          <a:pt x="569" y="429"/>
                        </a:lnTo>
                        <a:lnTo>
                          <a:pt x="575" y="416"/>
                        </a:lnTo>
                        <a:lnTo>
                          <a:pt x="580" y="402"/>
                        </a:lnTo>
                        <a:lnTo>
                          <a:pt x="585" y="388"/>
                        </a:lnTo>
                        <a:lnTo>
                          <a:pt x="589" y="374"/>
                        </a:lnTo>
                        <a:lnTo>
                          <a:pt x="592" y="359"/>
                        </a:lnTo>
                        <a:lnTo>
                          <a:pt x="594" y="345"/>
                        </a:lnTo>
                        <a:lnTo>
                          <a:pt x="596" y="330"/>
                        </a:lnTo>
                        <a:lnTo>
                          <a:pt x="598" y="314"/>
                        </a:lnTo>
                        <a:lnTo>
                          <a:pt x="599" y="299"/>
                        </a:lnTo>
                        <a:lnTo>
                          <a:pt x="598" y="284"/>
                        </a:lnTo>
                        <a:lnTo>
                          <a:pt x="596" y="268"/>
                        </a:lnTo>
                        <a:lnTo>
                          <a:pt x="594" y="253"/>
                        </a:lnTo>
                        <a:lnTo>
                          <a:pt x="592" y="240"/>
                        </a:lnTo>
                        <a:lnTo>
                          <a:pt x="589" y="225"/>
                        </a:lnTo>
                        <a:lnTo>
                          <a:pt x="585" y="211"/>
                        </a:lnTo>
                        <a:lnTo>
                          <a:pt x="580" y="197"/>
                        </a:lnTo>
                        <a:lnTo>
                          <a:pt x="575" y="183"/>
                        </a:lnTo>
                        <a:lnTo>
                          <a:pt x="569" y="170"/>
                        </a:lnTo>
                        <a:lnTo>
                          <a:pt x="562" y="157"/>
                        </a:lnTo>
                        <a:lnTo>
                          <a:pt x="555" y="144"/>
                        </a:lnTo>
                        <a:lnTo>
                          <a:pt x="547" y="133"/>
                        </a:lnTo>
                        <a:lnTo>
                          <a:pt x="539" y="121"/>
                        </a:lnTo>
                        <a:lnTo>
                          <a:pt x="530" y="109"/>
                        </a:lnTo>
                        <a:lnTo>
                          <a:pt x="521" y="98"/>
                        </a:lnTo>
                        <a:lnTo>
                          <a:pt x="511" y="88"/>
                        </a:lnTo>
                        <a:lnTo>
                          <a:pt x="500" y="78"/>
                        </a:lnTo>
                        <a:lnTo>
                          <a:pt x="490" y="68"/>
                        </a:lnTo>
                        <a:lnTo>
                          <a:pt x="478" y="60"/>
                        </a:lnTo>
                        <a:lnTo>
                          <a:pt x="466" y="51"/>
                        </a:lnTo>
                        <a:lnTo>
                          <a:pt x="454" y="44"/>
                        </a:lnTo>
                        <a:lnTo>
                          <a:pt x="441" y="36"/>
                        </a:lnTo>
                        <a:lnTo>
                          <a:pt x="429" y="30"/>
                        </a:lnTo>
                        <a:lnTo>
                          <a:pt x="416" y="24"/>
                        </a:lnTo>
                        <a:lnTo>
                          <a:pt x="402" y="18"/>
                        </a:lnTo>
                        <a:lnTo>
                          <a:pt x="388" y="14"/>
                        </a:lnTo>
                        <a:lnTo>
                          <a:pt x="374" y="10"/>
                        </a:lnTo>
                        <a:lnTo>
                          <a:pt x="359" y="6"/>
                        </a:lnTo>
                        <a:lnTo>
                          <a:pt x="345" y="4"/>
                        </a:lnTo>
                        <a:lnTo>
                          <a:pt x="330" y="2"/>
                        </a:lnTo>
                        <a:lnTo>
                          <a:pt x="314" y="1"/>
                        </a:lnTo>
                        <a:lnTo>
                          <a:pt x="299" y="0"/>
                        </a:lnTo>
                        <a:close/>
                      </a:path>
                    </a:pathLst>
                  </a:custGeom>
                  <a:gradFill>
                    <a:gsLst>
                      <a:gs pos="1000">
                        <a:schemeClr val="tx2">
                          <a:alpha val="85000"/>
                        </a:schemeClr>
                      </a:gs>
                      <a:gs pos="100000">
                        <a:schemeClr val="bg2">
                          <a:alpha val="8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reeform 311"/>
                  <p:cNvSpPr>
                    <a:spLocks noEditPoints="1"/>
                  </p:cNvSpPr>
                  <p:nvPr/>
                </p:nvSpPr>
                <p:spPr bwMode="auto">
                  <a:xfrm>
                    <a:off x="7700963" y="2052638"/>
                    <a:ext cx="114300" cy="112712"/>
                  </a:xfrm>
                  <a:custGeom>
                    <a:avLst/>
                    <a:gdLst>
                      <a:gd name="T0" fmla="*/ 241 w 359"/>
                      <a:gd name="T1" fmla="*/ 200 h 358"/>
                      <a:gd name="T2" fmla="*/ 239 w 359"/>
                      <a:gd name="T3" fmla="*/ 208 h 358"/>
                      <a:gd name="T4" fmla="*/ 271 w 359"/>
                      <a:gd name="T5" fmla="*/ 308 h 358"/>
                      <a:gd name="T6" fmla="*/ 183 w 359"/>
                      <a:gd name="T7" fmla="*/ 253 h 358"/>
                      <a:gd name="T8" fmla="*/ 175 w 359"/>
                      <a:gd name="T9" fmla="*/ 253 h 358"/>
                      <a:gd name="T10" fmla="*/ 87 w 359"/>
                      <a:gd name="T11" fmla="*/ 308 h 358"/>
                      <a:gd name="T12" fmla="*/ 119 w 359"/>
                      <a:gd name="T13" fmla="*/ 208 h 358"/>
                      <a:gd name="T14" fmla="*/ 117 w 359"/>
                      <a:gd name="T15" fmla="*/ 200 h 358"/>
                      <a:gd name="T16" fmla="*/ 56 w 359"/>
                      <a:gd name="T17" fmla="*/ 148 h 358"/>
                      <a:gd name="T18" fmla="*/ 124 w 359"/>
                      <a:gd name="T19" fmla="*/ 147 h 358"/>
                      <a:gd name="T20" fmla="*/ 130 w 359"/>
                      <a:gd name="T21" fmla="*/ 143 h 358"/>
                      <a:gd name="T22" fmla="*/ 179 w 359"/>
                      <a:gd name="T23" fmla="*/ 47 h 358"/>
                      <a:gd name="T24" fmla="*/ 228 w 359"/>
                      <a:gd name="T25" fmla="*/ 143 h 358"/>
                      <a:gd name="T26" fmla="*/ 235 w 359"/>
                      <a:gd name="T27" fmla="*/ 147 h 358"/>
                      <a:gd name="T28" fmla="*/ 302 w 359"/>
                      <a:gd name="T29" fmla="*/ 148 h 358"/>
                      <a:gd name="T30" fmla="*/ 344 w 359"/>
                      <a:gd name="T31" fmla="*/ 119 h 358"/>
                      <a:gd name="T32" fmla="*/ 193 w 359"/>
                      <a:gd name="T33" fmla="*/ 7 h 358"/>
                      <a:gd name="T34" fmla="*/ 187 w 359"/>
                      <a:gd name="T35" fmla="*/ 2 h 358"/>
                      <a:gd name="T36" fmla="*/ 179 w 359"/>
                      <a:gd name="T37" fmla="*/ 0 h 358"/>
                      <a:gd name="T38" fmla="*/ 172 w 359"/>
                      <a:gd name="T39" fmla="*/ 2 h 358"/>
                      <a:gd name="T40" fmla="*/ 165 w 359"/>
                      <a:gd name="T41" fmla="*/ 7 h 358"/>
                      <a:gd name="T42" fmla="*/ 15 w 359"/>
                      <a:gd name="T43" fmla="*/ 119 h 358"/>
                      <a:gd name="T44" fmla="*/ 6 w 359"/>
                      <a:gd name="T45" fmla="*/ 122 h 358"/>
                      <a:gd name="T46" fmla="*/ 1 w 359"/>
                      <a:gd name="T47" fmla="*/ 128 h 358"/>
                      <a:gd name="T48" fmla="*/ 1 w 359"/>
                      <a:gd name="T49" fmla="*/ 138 h 358"/>
                      <a:gd name="T50" fmla="*/ 5 w 359"/>
                      <a:gd name="T51" fmla="*/ 145 h 358"/>
                      <a:gd name="T52" fmla="*/ 46 w 359"/>
                      <a:gd name="T53" fmla="*/ 338 h 358"/>
                      <a:gd name="T54" fmla="*/ 46 w 359"/>
                      <a:gd name="T55" fmla="*/ 347 h 358"/>
                      <a:gd name="T56" fmla="*/ 51 w 359"/>
                      <a:gd name="T57" fmla="*/ 355 h 358"/>
                      <a:gd name="T58" fmla="*/ 58 w 359"/>
                      <a:gd name="T59" fmla="*/ 358 h 358"/>
                      <a:gd name="T60" fmla="*/ 68 w 359"/>
                      <a:gd name="T61" fmla="*/ 356 h 358"/>
                      <a:gd name="T62" fmla="*/ 290 w 359"/>
                      <a:gd name="T63" fmla="*/ 356 h 358"/>
                      <a:gd name="T64" fmla="*/ 299 w 359"/>
                      <a:gd name="T65" fmla="*/ 358 h 358"/>
                      <a:gd name="T66" fmla="*/ 308 w 359"/>
                      <a:gd name="T67" fmla="*/ 355 h 358"/>
                      <a:gd name="T68" fmla="*/ 313 w 359"/>
                      <a:gd name="T69" fmla="*/ 347 h 358"/>
                      <a:gd name="T70" fmla="*/ 313 w 359"/>
                      <a:gd name="T71" fmla="*/ 338 h 358"/>
                      <a:gd name="T72" fmla="*/ 354 w 359"/>
                      <a:gd name="T73" fmla="*/ 145 h 358"/>
                      <a:gd name="T74" fmla="*/ 358 w 359"/>
                      <a:gd name="T75" fmla="*/ 138 h 358"/>
                      <a:gd name="T76" fmla="*/ 358 w 359"/>
                      <a:gd name="T77" fmla="*/ 128 h 358"/>
                      <a:gd name="T78" fmla="*/ 352 w 359"/>
                      <a:gd name="T79" fmla="*/ 122 h 358"/>
                      <a:gd name="T80" fmla="*/ 344 w 359"/>
                      <a:gd name="T81" fmla="*/ 119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9" h="358">
                        <a:moveTo>
                          <a:pt x="244" y="197"/>
                        </a:moveTo>
                        <a:lnTo>
                          <a:pt x="241" y="200"/>
                        </a:lnTo>
                        <a:lnTo>
                          <a:pt x="239" y="204"/>
                        </a:lnTo>
                        <a:lnTo>
                          <a:pt x="239" y="208"/>
                        </a:lnTo>
                        <a:lnTo>
                          <a:pt x="240" y="213"/>
                        </a:lnTo>
                        <a:lnTo>
                          <a:pt x="271" y="308"/>
                        </a:lnTo>
                        <a:lnTo>
                          <a:pt x="187" y="255"/>
                        </a:lnTo>
                        <a:lnTo>
                          <a:pt x="183" y="253"/>
                        </a:lnTo>
                        <a:lnTo>
                          <a:pt x="179" y="253"/>
                        </a:lnTo>
                        <a:lnTo>
                          <a:pt x="175" y="253"/>
                        </a:lnTo>
                        <a:lnTo>
                          <a:pt x="172" y="255"/>
                        </a:lnTo>
                        <a:lnTo>
                          <a:pt x="87" y="308"/>
                        </a:lnTo>
                        <a:lnTo>
                          <a:pt x="118" y="213"/>
                        </a:lnTo>
                        <a:lnTo>
                          <a:pt x="119" y="208"/>
                        </a:lnTo>
                        <a:lnTo>
                          <a:pt x="119" y="204"/>
                        </a:lnTo>
                        <a:lnTo>
                          <a:pt x="117" y="200"/>
                        </a:lnTo>
                        <a:lnTo>
                          <a:pt x="114" y="197"/>
                        </a:lnTo>
                        <a:lnTo>
                          <a:pt x="56" y="148"/>
                        </a:lnTo>
                        <a:lnTo>
                          <a:pt x="119" y="148"/>
                        </a:lnTo>
                        <a:lnTo>
                          <a:pt x="124" y="147"/>
                        </a:lnTo>
                        <a:lnTo>
                          <a:pt x="127" y="146"/>
                        </a:lnTo>
                        <a:lnTo>
                          <a:pt x="130" y="143"/>
                        </a:lnTo>
                        <a:lnTo>
                          <a:pt x="133" y="140"/>
                        </a:lnTo>
                        <a:lnTo>
                          <a:pt x="179" y="47"/>
                        </a:lnTo>
                        <a:lnTo>
                          <a:pt x="225" y="140"/>
                        </a:lnTo>
                        <a:lnTo>
                          <a:pt x="228" y="143"/>
                        </a:lnTo>
                        <a:lnTo>
                          <a:pt x="232" y="146"/>
                        </a:lnTo>
                        <a:lnTo>
                          <a:pt x="235" y="147"/>
                        </a:lnTo>
                        <a:lnTo>
                          <a:pt x="239" y="148"/>
                        </a:lnTo>
                        <a:lnTo>
                          <a:pt x="302" y="148"/>
                        </a:lnTo>
                        <a:lnTo>
                          <a:pt x="244" y="197"/>
                        </a:lnTo>
                        <a:close/>
                        <a:moveTo>
                          <a:pt x="344" y="119"/>
                        </a:moveTo>
                        <a:lnTo>
                          <a:pt x="249" y="119"/>
                        </a:lnTo>
                        <a:lnTo>
                          <a:pt x="193" y="7"/>
                        </a:lnTo>
                        <a:lnTo>
                          <a:pt x="190" y="4"/>
                        </a:lnTo>
                        <a:lnTo>
                          <a:pt x="187" y="2"/>
                        </a:lnTo>
                        <a:lnTo>
                          <a:pt x="183" y="0"/>
                        </a:lnTo>
                        <a:lnTo>
                          <a:pt x="179" y="0"/>
                        </a:lnTo>
                        <a:lnTo>
                          <a:pt x="175" y="0"/>
                        </a:lnTo>
                        <a:lnTo>
                          <a:pt x="172" y="2"/>
                        </a:lnTo>
                        <a:lnTo>
                          <a:pt x="168" y="4"/>
                        </a:lnTo>
                        <a:lnTo>
                          <a:pt x="165" y="7"/>
                        </a:lnTo>
                        <a:lnTo>
                          <a:pt x="110" y="119"/>
                        </a:lnTo>
                        <a:lnTo>
                          <a:pt x="15" y="119"/>
                        </a:lnTo>
                        <a:lnTo>
                          <a:pt x="10" y="120"/>
                        </a:lnTo>
                        <a:lnTo>
                          <a:pt x="6" y="122"/>
                        </a:lnTo>
                        <a:lnTo>
                          <a:pt x="3" y="124"/>
                        </a:lnTo>
                        <a:lnTo>
                          <a:pt x="1" y="128"/>
                        </a:lnTo>
                        <a:lnTo>
                          <a:pt x="0" y="132"/>
                        </a:lnTo>
                        <a:lnTo>
                          <a:pt x="1" y="138"/>
                        </a:lnTo>
                        <a:lnTo>
                          <a:pt x="2" y="142"/>
                        </a:lnTo>
                        <a:lnTo>
                          <a:pt x="5" y="145"/>
                        </a:lnTo>
                        <a:lnTo>
                          <a:pt x="87" y="214"/>
                        </a:lnTo>
                        <a:lnTo>
                          <a:pt x="46" y="338"/>
                        </a:lnTo>
                        <a:lnTo>
                          <a:pt x="44" y="343"/>
                        </a:lnTo>
                        <a:lnTo>
                          <a:pt x="46" y="347"/>
                        </a:lnTo>
                        <a:lnTo>
                          <a:pt x="48" y="352"/>
                        </a:lnTo>
                        <a:lnTo>
                          <a:pt x="51" y="355"/>
                        </a:lnTo>
                        <a:lnTo>
                          <a:pt x="54" y="357"/>
                        </a:lnTo>
                        <a:lnTo>
                          <a:pt x="58" y="358"/>
                        </a:lnTo>
                        <a:lnTo>
                          <a:pt x="64" y="357"/>
                        </a:lnTo>
                        <a:lnTo>
                          <a:pt x="68" y="356"/>
                        </a:lnTo>
                        <a:lnTo>
                          <a:pt x="179" y="285"/>
                        </a:lnTo>
                        <a:lnTo>
                          <a:pt x="290" y="356"/>
                        </a:lnTo>
                        <a:lnTo>
                          <a:pt x="295" y="357"/>
                        </a:lnTo>
                        <a:lnTo>
                          <a:pt x="299" y="358"/>
                        </a:lnTo>
                        <a:lnTo>
                          <a:pt x="303" y="357"/>
                        </a:lnTo>
                        <a:lnTo>
                          <a:pt x="308" y="355"/>
                        </a:lnTo>
                        <a:lnTo>
                          <a:pt x="311" y="352"/>
                        </a:lnTo>
                        <a:lnTo>
                          <a:pt x="313" y="347"/>
                        </a:lnTo>
                        <a:lnTo>
                          <a:pt x="314" y="343"/>
                        </a:lnTo>
                        <a:lnTo>
                          <a:pt x="313" y="338"/>
                        </a:lnTo>
                        <a:lnTo>
                          <a:pt x="271" y="214"/>
                        </a:lnTo>
                        <a:lnTo>
                          <a:pt x="354" y="145"/>
                        </a:lnTo>
                        <a:lnTo>
                          <a:pt x="357" y="141"/>
                        </a:lnTo>
                        <a:lnTo>
                          <a:pt x="358" y="138"/>
                        </a:lnTo>
                        <a:lnTo>
                          <a:pt x="359" y="132"/>
                        </a:lnTo>
                        <a:lnTo>
                          <a:pt x="358" y="128"/>
                        </a:lnTo>
                        <a:lnTo>
                          <a:pt x="356" y="124"/>
                        </a:lnTo>
                        <a:lnTo>
                          <a:pt x="352" y="122"/>
                        </a:lnTo>
                        <a:lnTo>
                          <a:pt x="348" y="120"/>
                        </a:lnTo>
                        <a:lnTo>
                          <a:pt x="344" y="119"/>
                        </a:lnTo>
                        <a:lnTo>
                          <a:pt x="344" y="119"/>
                        </a:lnTo>
                        <a:close/>
                      </a:path>
                    </a:pathLst>
                  </a:custGeom>
                  <a:gradFill>
                    <a:gsLst>
                      <a:gs pos="1000">
                        <a:schemeClr val="tx2">
                          <a:alpha val="85000"/>
                        </a:schemeClr>
                      </a:gs>
                      <a:gs pos="100000">
                        <a:schemeClr val="bg2">
                          <a:alpha val="8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Freeform 312"/>
                  <p:cNvSpPr>
                    <a:spLocks/>
                  </p:cNvSpPr>
                  <p:nvPr/>
                </p:nvSpPr>
                <p:spPr bwMode="auto">
                  <a:xfrm>
                    <a:off x="7791450" y="1919288"/>
                    <a:ext cx="103188" cy="109537"/>
                  </a:xfrm>
                  <a:custGeom>
                    <a:avLst/>
                    <a:gdLst>
                      <a:gd name="T0" fmla="*/ 324 w 328"/>
                      <a:gd name="T1" fmla="*/ 3 h 343"/>
                      <a:gd name="T2" fmla="*/ 318 w 328"/>
                      <a:gd name="T3" fmla="*/ 0 h 343"/>
                      <a:gd name="T4" fmla="*/ 210 w 328"/>
                      <a:gd name="T5" fmla="*/ 0 h 343"/>
                      <a:gd name="T6" fmla="*/ 114 w 328"/>
                      <a:gd name="T7" fmla="*/ 0 h 343"/>
                      <a:gd name="T8" fmla="*/ 108 w 328"/>
                      <a:gd name="T9" fmla="*/ 4 h 343"/>
                      <a:gd name="T10" fmla="*/ 1 w 328"/>
                      <a:gd name="T11" fmla="*/ 233 h 343"/>
                      <a:gd name="T12" fmla="*/ 0 w 328"/>
                      <a:gd name="T13" fmla="*/ 238 h 343"/>
                      <a:gd name="T14" fmla="*/ 1 w 328"/>
                      <a:gd name="T15" fmla="*/ 243 h 343"/>
                      <a:gd name="T16" fmla="*/ 3 w 328"/>
                      <a:gd name="T17" fmla="*/ 249 h 343"/>
                      <a:gd name="T18" fmla="*/ 9 w 328"/>
                      <a:gd name="T19" fmla="*/ 252 h 343"/>
                      <a:gd name="T20" fmla="*/ 14 w 328"/>
                      <a:gd name="T21" fmla="*/ 253 h 343"/>
                      <a:gd name="T22" fmla="*/ 20 w 328"/>
                      <a:gd name="T23" fmla="*/ 253 h 343"/>
                      <a:gd name="T24" fmla="*/ 25 w 328"/>
                      <a:gd name="T25" fmla="*/ 250 h 343"/>
                      <a:gd name="T26" fmla="*/ 29 w 328"/>
                      <a:gd name="T27" fmla="*/ 245 h 343"/>
                      <a:gd name="T28" fmla="*/ 186 w 328"/>
                      <a:gd name="T29" fmla="*/ 30 h 343"/>
                      <a:gd name="T30" fmla="*/ 75 w 328"/>
                      <a:gd name="T31" fmla="*/ 280 h 343"/>
                      <a:gd name="T32" fmla="*/ 75 w 328"/>
                      <a:gd name="T33" fmla="*/ 286 h 343"/>
                      <a:gd name="T34" fmla="*/ 77 w 328"/>
                      <a:gd name="T35" fmla="*/ 292 h 343"/>
                      <a:gd name="T36" fmla="*/ 81 w 328"/>
                      <a:gd name="T37" fmla="*/ 296 h 343"/>
                      <a:gd name="T38" fmla="*/ 87 w 328"/>
                      <a:gd name="T39" fmla="*/ 298 h 343"/>
                      <a:gd name="T40" fmla="*/ 90 w 328"/>
                      <a:gd name="T41" fmla="*/ 298 h 343"/>
                      <a:gd name="T42" fmla="*/ 92 w 328"/>
                      <a:gd name="T43" fmla="*/ 298 h 343"/>
                      <a:gd name="T44" fmla="*/ 95 w 328"/>
                      <a:gd name="T45" fmla="*/ 297 h 343"/>
                      <a:gd name="T46" fmla="*/ 97 w 328"/>
                      <a:gd name="T47" fmla="*/ 296 h 343"/>
                      <a:gd name="T48" fmla="*/ 99 w 328"/>
                      <a:gd name="T49" fmla="*/ 295 h 343"/>
                      <a:gd name="T50" fmla="*/ 102 w 328"/>
                      <a:gd name="T51" fmla="*/ 292 h 343"/>
                      <a:gd name="T52" fmla="*/ 219 w 328"/>
                      <a:gd name="T53" fmla="*/ 30 h 343"/>
                      <a:gd name="T54" fmla="*/ 151 w 328"/>
                      <a:gd name="T55" fmla="*/ 322 h 343"/>
                      <a:gd name="T56" fmla="*/ 150 w 328"/>
                      <a:gd name="T57" fmla="*/ 328 h 343"/>
                      <a:gd name="T58" fmla="*/ 150 w 328"/>
                      <a:gd name="T59" fmla="*/ 333 h 343"/>
                      <a:gd name="T60" fmla="*/ 153 w 328"/>
                      <a:gd name="T61" fmla="*/ 339 h 343"/>
                      <a:gd name="T62" fmla="*/ 158 w 328"/>
                      <a:gd name="T63" fmla="*/ 342 h 343"/>
                      <a:gd name="T64" fmla="*/ 165 w 328"/>
                      <a:gd name="T65" fmla="*/ 343 h 343"/>
                      <a:gd name="T66" fmla="*/ 172 w 328"/>
                      <a:gd name="T67" fmla="*/ 341 h 343"/>
                      <a:gd name="T68" fmla="*/ 178 w 328"/>
                      <a:gd name="T69" fmla="*/ 334 h 343"/>
                      <a:gd name="T70" fmla="*/ 328 w 328"/>
                      <a:gd name="T71" fmla="*/ 17 h 343"/>
                      <a:gd name="T72" fmla="*/ 328 w 328"/>
                      <a:gd name="T73" fmla="*/ 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8" h="343">
                        <a:moveTo>
                          <a:pt x="326" y="6"/>
                        </a:moveTo>
                        <a:lnTo>
                          <a:pt x="324" y="3"/>
                        </a:lnTo>
                        <a:lnTo>
                          <a:pt x="321" y="1"/>
                        </a:lnTo>
                        <a:lnTo>
                          <a:pt x="318" y="0"/>
                        </a:lnTo>
                        <a:lnTo>
                          <a:pt x="313" y="0"/>
                        </a:lnTo>
                        <a:lnTo>
                          <a:pt x="210" y="0"/>
                        </a:lnTo>
                        <a:lnTo>
                          <a:pt x="119" y="0"/>
                        </a:lnTo>
                        <a:lnTo>
                          <a:pt x="114" y="0"/>
                        </a:lnTo>
                        <a:lnTo>
                          <a:pt x="111" y="2"/>
                        </a:lnTo>
                        <a:lnTo>
                          <a:pt x="108" y="4"/>
                        </a:lnTo>
                        <a:lnTo>
                          <a:pt x="106" y="8"/>
                        </a:lnTo>
                        <a:lnTo>
                          <a:pt x="1" y="233"/>
                        </a:lnTo>
                        <a:lnTo>
                          <a:pt x="0" y="235"/>
                        </a:lnTo>
                        <a:lnTo>
                          <a:pt x="0" y="238"/>
                        </a:lnTo>
                        <a:lnTo>
                          <a:pt x="0" y="241"/>
                        </a:lnTo>
                        <a:lnTo>
                          <a:pt x="1" y="243"/>
                        </a:lnTo>
                        <a:lnTo>
                          <a:pt x="2" y="247"/>
                        </a:lnTo>
                        <a:lnTo>
                          <a:pt x="3" y="249"/>
                        </a:lnTo>
                        <a:lnTo>
                          <a:pt x="6" y="251"/>
                        </a:lnTo>
                        <a:lnTo>
                          <a:pt x="9" y="252"/>
                        </a:lnTo>
                        <a:lnTo>
                          <a:pt x="12" y="253"/>
                        </a:lnTo>
                        <a:lnTo>
                          <a:pt x="14" y="253"/>
                        </a:lnTo>
                        <a:lnTo>
                          <a:pt x="17" y="253"/>
                        </a:lnTo>
                        <a:lnTo>
                          <a:pt x="20" y="253"/>
                        </a:lnTo>
                        <a:lnTo>
                          <a:pt x="22" y="251"/>
                        </a:lnTo>
                        <a:lnTo>
                          <a:pt x="25" y="250"/>
                        </a:lnTo>
                        <a:lnTo>
                          <a:pt x="27" y="248"/>
                        </a:lnTo>
                        <a:lnTo>
                          <a:pt x="29" y="245"/>
                        </a:lnTo>
                        <a:lnTo>
                          <a:pt x="128" y="30"/>
                        </a:lnTo>
                        <a:lnTo>
                          <a:pt x="186" y="30"/>
                        </a:lnTo>
                        <a:lnTo>
                          <a:pt x="76" y="278"/>
                        </a:lnTo>
                        <a:lnTo>
                          <a:pt x="75" y="280"/>
                        </a:lnTo>
                        <a:lnTo>
                          <a:pt x="75" y="283"/>
                        </a:lnTo>
                        <a:lnTo>
                          <a:pt x="75" y="286"/>
                        </a:lnTo>
                        <a:lnTo>
                          <a:pt x="76" y="288"/>
                        </a:lnTo>
                        <a:lnTo>
                          <a:pt x="77" y="292"/>
                        </a:lnTo>
                        <a:lnTo>
                          <a:pt x="79" y="294"/>
                        </a:lnTo>
                        <a:lnTo>
                          <a:pt x="81" y="296"/>
                        </a:lnTo>
                        <a:lnTo>
                          <a:pt x="83" y="297"/>
                        </a:lnTo>
                        <a:lnTo>
                          <a:pt x="87" y="298"/>
                        </a:lnTo>
                        <a:lnTo>
                          <a:pt x="90" y="298"/>
                        </a:lnTo>
                        <a:lnTo>
                          <a:pt x="90" y="298"/>
                        </a:lnTo>
                        <a:lnTo>
                          <a:pt x="90" y="298"/>
                        </a:lnTo>
                        <a:lnTo>
                          <a:pt x="92" y="298"/>
                        </a:lnTo>
                        <a:lnTo>
                          <a:pt x="94" y="298"/>
                        </a:lnTo>
                        <a:lnTo>
                          <a:pt x="95" y="297"/>
                        </a:lnTo>
                        <a:lnTo>
                          <a:pt x="95" y="297"/>
                        </a:lnTo>
                        <a:lnTo>
                          <a:pt x="97" y="296"/>
                        </a:lnTo>
                        <a:lnTo>
                          <a:pt x="99" y="295"/>
                        </a:lnTo>
                        <a:lnTo>
                          <a:pt x="99" y="295"/>
                        </a:lnTo>
                        <a:lnTo>
                          <a:pt x="101" y="294"/>
                        </a:lnTo>
                        <a:lnTo>
                          <a:pt x="102" y="292"/>
                        </a:lnTo>
                        <a:lnTo>
                          <a:pt x="104" y="289"/>
                        </a:lnTo>
                        <a:lnTo>
                          <a:pt x="219" y="30"/>
                        </a:lnTo>
                        <a:lnTo>
                          <a:pt x="290" y="30"/>
                        </a:lnTo>
                        <a:lnTo>
                          <a:pt x="151" y="322"/>
                        </a:lnTo>
                        <a:lnTo>
                          <a:pt x="150" y="325"/>
                        </a:lnTo>
                        <a:lnTo>
                          <a:pt x="150" y="328"/>
                        </a:lnTo>
                        <a:lnTo>
                          <a:pt x="150" y="330"/>
                        </a:lnTo>
                        <a:lnTo>
                          <a:pt x="150" y="333"/>
                        </a:lnTo>
                        <a:lnTo>
                          <a:pt x="152" y="335"/>
                        </a:lnTo>
                        <a:lnTo>
                          <a:pt x="153" y="339"/>
                        </a:lnTo>
                        <a:lnTo>
                          <a:pt x="155" y="340"/>
                        </a:lnTo>
                        <a:lnTo>
                          <a:pt x="158" y="342"/>
                        </a:lnTo>
                        <a:lnTo>
                          <a:pt x="161" y="343"/>
                        </a:lnTo>
                        <a:lnTo>
                          <a:pt x="165" y="343"/>
                        </a:lnTo>
                        <a:lnTo>
                          <a:pt x="168" y="343"/>
                        </a:lnTo>
                        <a:lnTo>
                          <a:pt x="172" y="341"/>
                        </a:lnTo>
                        <a:lnTo>
                          <a:pt x="175" y="339"/>
                        </a:lnTo>
                        <a:lnTo>
                          <a:pt x="178" y="334"/>
                        </a:lnTo>
                        <a:lnTo>
                          <a:pt x="327" y="21"/>
                        </a:lnTo>
                        <a:lnTo>
                          <a:pt x="328" y="17"/>
                        </a:lnTo>
                        <a:lnTo>
                          <a:pt x="328" y="14"/>
                        </a:lnTo>
                        <a:lnTo>
                          <a:pt x="328" y="9"/>
                        </a:lnTo>
                        <a:lnTo>
                          <a:pt x="326" y="6"/>
                        </a:lnTo>
                        <a:close/>
                      </a:path>
                    </a:pathLst>
                  </a:custGeom>
                  <a:gradFill>
                    <a:gsLst>
                      <a:gs pos="1000">
                        <a:schemeClr val="tx2">
                          <a:alpha val="85000"/>
                        </a:schemeClr>
                      </a:gs>
                      <a:gs pos="100000">
                        <a:schemeClr val="bg2">
                          <a:alpha val="8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Freeform 313"/>
                  <p:cNvSpPr>
                    <a:spLocks/>
                  </p:cNvSpPr>
                  <p:nvPr/>
                </p:nvSpPr>
                <p:spPr bwMode="auto">
                  <a:xfrm>
                    <a:off x="7620000" y="1919288"/>
                    <a:ext cx="104775" cy="109537"/>
                  </a:xfrm>
                  <a:custGeom>
                    <a:avLst/>
                    <a:gdLst>
                      <a:gd name="T0" fmla="*/ 167 w 328"/>
                      <a:gd name="T1" fmla="*/ 343 h 343"/>
                      <a:gd name="T2" fmla="*/ 173 w 328"/>
                      <a:gd name="T3" fmla="*/ 340 h 343"/>
                      <a:gd name="T4" fmla="*/ 177 w 328"/>
                      <a:gd name="T5" fmla="*/ 335 h 343"/>
                      <a:gd name="T6" fmla="*/ 179 w 328"/>
                      <a:gd name="T7" fmla="*/ 330 h 343"/>
                      <a:gd name="T8" fmla="*/ 179 w 328"/>
                      <a:gd name="T9" fmla="*/ 325 h 343"/>
                      <a:gd name="T10" fmla="*/ 39 w 328"/>
                      <a:gd name="T11" fmla="*/ 30 h 343"/>
                      <a:gd name="T12" fmla="*/ 225 w 328"/>
                      <a:gd name="T13" fmla="*/ 289 h 343"/>
                      <a:gd name="T14" fmla="*/ 228 w 328"/>
                      <a:gd name="T15" fmla="*/ 294 h 343"/>
                      <a:gd name="T16" fmla="*/ 229 w 328"/>
                      <a:gd name="T17" fmla="*/ 295 h 343"/>
                      <a:gd name="T18" fmla="*/ 232 w 328"/>
                      <a:gd name="T19" fmla="*/ 297 h 343"/>
                      <a:gd name="T20" fmla="*/ 234 w 328"/>
                      <a:gd name="T21" fmla="*/ 298 h 343"/>
                      <a:gd name="T22" fmla="*/ 239 w 328"/>
                      <a:gd name="T23" fmla="*/ 298 h 343"/>
                      <a:gd name="T24" fmla="*/ 239 w 328"/>
                      <a:gd name="T25" fmla="*/ 298 h 343"/>
                      <a:gd name="T26" fmla="*/ 245 w 328"/>
                      <a:gd name="T27" fmla="*/ 297 h 343"/>
                      <a:gd name="T28" fmla="*/ 249 w 328"/>
                      <a:gd name="T29" fmla="*/ 294 h 343"/>
                      <a:gd name="T30" fmla="*/ 252 w 328"/>
                      <a:gd name="T31" fmla="*/ 288 h 343"/>
                      <a:gd name="T32" fmla="*/ 254 w 328"/>
                      <a:gd name="T33" fmla="*/ 283 h 343"/>
                      <a:gd name="T34" fmla="*/ 252 w 328"/>
                      <a:gd name="T35" fmla="*/ 278 h 343"/>
                      <a:gd name="T36" fmla="*/ 199 w 328"/>
                      <a:gd name="T37" fmla="*/ 30 h 343"/>
                      <a:gd name="T38" fmla="*/ 302 w 328"/>
                      <a:gd name="T39" fmla="*/ 248 h 343"/>
                      <a:gd name="T40" fmla="*/ 306 w 328"/>
                      <a:gd name="T41" fmla="*/ 251 h 343"/>
                      <a:gd name="T42" fmla="*/ 311 w 328"/>
                      <a:gd name="T43" fmla="*/ 253 h 343"/>
                      <a:gd name="T44" fmla="*/ 317 w 328"/>
                      <a:gd name="T45" fmla="*/ 253 h 343"/>
                      <a:gd name="T46" fmla="*/ 323 w 328"/>
                      <a:gd name="T47" fmla="*/ 251 h 343"/>
                      <a:gd name="T48" fmla="*/ 326 w 328"/>
                      <a:gd name="T49" fmla="*/ 247 h 343"/>
                      <a:gd name="T50" fmla="*/ 328 w 328"/>
                      <a:gd name="T51" fmla="*/ 241 h 343"/>
                      <a:gd name="T52" fmla="*/ 328 w 328"/>
                      <a:gd name="T53" fmla="*/ 235 h 343"/>
                      <a:gd name="T54" fmla="*/ 223 w 328"/>
                      <a:gd name="T55" fmla="*/ 8 h 343"/>
                      <a:gd name="T56" fmla="*/ 217 w 328"/>
                      <a:gd name="T57" fmla="*/ 2 h 343"/>
                      <a:gd name="T58" fmla="*/ 209 w 328"/>
                      <a:gd name="T59" fmla="*/ 0 h 343"/>
                      <a:gd name="T60" fmla="*/ 15 w 328"/>
                      <a:gd name="T61" fmla="*/ 0 h 343"/>
                      <a:gd name="T62" fmla="*/ 8 w 328"/>
                      <a:gd name="T63" fmla="*/ 1 h 343"/>
                      <a:gd name="T64" fmla="*/ 2 w 328"/>
                      <a:gd name="T65" fmla="*/ 6 h 343"/>
                      <a:gd name="T66" fmla="*/ 0 w 328"/>
                      <a:gd name="T67" fmla="*/ 14 h 343"/>
                      <a:gd name="T68" fmla="*/ 1 w 328"/>
                      <a:gd name="T69" fmla="*/ 21 h 343"/>
                      <a:gd name="T70" fmla="*/ 153 w 328"/>
                      <a:gd name="T71" fmla="*/ 339 h 343"/>
                      <a:gd name="T72" fmla="*/ 161 w 328"/>
                      <a:gd name="T73" fmla="*/ 343 h 343"/>
                      <a:gd name="T74" fmla="*/ 164 w 328"/>
                      <a:gd name="T7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8" h="343">
                        <a:moveTo>
                          <a:pt x="164" y="343"/>
                        </a:moveTo>
                        <a:lnTo>
                          <a:pt x="167" y="343"/>
                        </a:lnTo>
                        <a:lnTo>
                          <a:pt x="170" y="342"/>
                        </a:lnTo>
                        <a:lnTo>
                          <a:pt x="173" y="340"/>
                        </a:lnTo>
                        <a:lnTo>
                          <a:pt x="175" y="339"/>
                        </a:lnTo>
                        <a:lnTo>
                          <a:pt x="177" y="335"/>
                        </a:lnTo>
                        <a:lnTo>
                          <a:pt x="179" y="333"/>
                        </a:lnTo>
                        <a:lnTo>
                          <a:pt x="179" y="330"/>
                        </a:lnTo>
                        <a:lnTo>
                          <a:pt x="179" y="328"/>
                        </a:lnTo>
                        <a:lnTo>
                          <a:pt x="179" y="325"/>
                        </a:lnTo>
                        <a:lnTo>
                          <a:pt x="178" y="322"/>
                        </a:lnTo>
                        <a:lnTo>
                          <a:pt x="39" y="30"/>
                        </a:lnTo>
                        <a:lnTo>
                          <a:pt x="109" y="30"/>
                        </a:lnTo>
                        <a:lnTo>
                          <a:pt x="225" y="289"/>
                        </a:lnTo>
                        <a:lnTo>
                          <a:pt x="227" y="292"/>
                        </a:lnTo>
                        <a:lnTo>
                          <a:pt x="228" y="294"/>
                        </a:lnTo>
                        <a:lnTo>
                          <a:pt x="229" y="295"/>
                        </a:lnTo>
                        <a:lnTo>
                          <a:pt x="229" y="295"/>
                        </a:lnTo>
                        <a:lnTo>
                          <a:pt x="231" y="296"/>
                        </a:lnTo>
                        <a:lnTo>
                          <a:pt x="232" y="297"/>
                        </a:lnTo>
                        <a:lnTo>
                          <a:pt x="233" y="297"/>
                        </a:lnTo>
                        <a:lnTo>
                          <a:pt x="234" y="298"/>
                        </a:lnTo>
                        <a:lnTo>
                          <a:pt x="236" y="298"/>
                        </a:lnTo>
                        <a:lnTo>
                          <a:pt x="239" y="298"/>
                        </a:lnTo>
                        <a:lnTo>
                          <a:pt x="239" y="298"/>
                        </a:lnTo>
                        <a:lnTo>
                          <a:pt x="239" y="298"/>
                        </a:lnTo>
                        <a:lnTo>
                          <a:pt x="242" y="298"/>
                        </a:lnTo>
                        <a:lnTo>
                          <a:pt x="245" y="297"/>
                        </a:lnTo>
                        <a:lnTo>
                          <a:pt x="247" y="296"/>
                        </a:lnTo>
                        <a:lnTo>
                          <a:pt x="249" y="294"/>
                        </a:lnTo>
                        <a:lnTo>
                          <a:pt x="251" y="292"/>
                        </a:lnTo>
                        <a:lnTo>
                          <a:pt x="252" y="288"/>
                        </a:lnTo>
                        <a:lnTo>
                          <a:pt x="254" y="286"/>
                        </a:lnTo>
                        <a:lnTo>
                          <a:pt x="254" y="283"/>
                        </a:lnTo>
                        <a:lnTo>
                          <a:pt x="254" y="280"/>
                        </a:lnTo>
                        <a:lnTo>
                          <a:pt x="252" y="278"/>
                        </a:lnTo>
                        <a:lnTo>
                          <a:pt x="142" y="30"/>
                        </a:lnTo>
                        <a:lnTo>
                          <a:pt x="199" y="30"/>
                        </a:lnTo>
                        <a:lnTo>
                          <a:pt x="300" y="245"/>
                        </a:lnTo>
                        <a:lnTo>
                          <a:pt x="302" y="248"/>
                        </a:lnTo>
                        <a:lnTo>
                          <a:pt x="304" y="250"/>
                        </a:lnTo>
                        <a:lnTo>
                          <a:pt x="306" y="251"/>
                        </a:lnTo>
                        <a:lnTo>
                          <a:pt x="308" y="252"/>
                        </a:lnTo>
                        <a:lnTo>
                          <a:pt x="311" y="253"/>
                        </a:lnTo>
                        <a:lnTo>
                          <a:pt x="314" y="253"/>
                        </a:lnTo>
                        <a:lnTo>
                          <a:pt x="317" y="253"/>
                        </a:lnTo>
                        <a:lnTo>
                          <a:pt x="320" y="252"/>
                        </a:lnTo>
                        <a:lnTo>
                          <a:pt x="323" y="251"/>
                        </a:lnTo>
                        <a:lnTo>
                          <a:pt x="325" y="249"/>
                        </a:lnTo>
                        <a:lnTo>
                          <a:pt x="326" y="247"/>
                        </a:lnTo>
                        <a:lnTo>
                          <a:pt x="327" y="243"/>
                        </a:lnTo>
                        <a:lnTo>
                          <a:pt x="328" y="241"/>
                        </a:lnTo>
                        <a:lnTo>
                          <a:pt x="328" y="238"/>
                        </a:lnTo>
                        <a:lnTo>
                          <a:pt x="328" y="235"/>
                        </a:lnTo>
                        <a:lnTo>
                          <a:pt x="327" y="233"/>
                        </a:lnTo>
                        <a:lnTo>
                          <a:pt x="223" y="8"/>
                        </a:lnTo>
                        <a:lnTo>
                          <a:pt x="220" y="4"/>
                        </a:lnTo>
                        <a:lnTo>
                          <a:pt x="217" y="2"/>
                        </a:lnTo>
                        <a:lnTo>
                          <a:pt x="213" y="0"/>
                        </a:lnTo>
                        <a:lnTo>
                          <a:pt x="209" y="0"/>
                        </a:lnTo>
                        <a:lnTo>
                          <a:pt x="119" y="0"/>
                        </a:lnTo>
                        <a:lnTo>
                          <a:pt x="15" y="0"/>
                        </a:lnTo>
                        <a:lnTo>
                          <a:pt x="11" y="0"/>
                        </a:lnTo>
                        <a:lnTo>
                          <a:pt x="8" y="1"/>
                        </a:lnTo>
                        <a:lnTo>
                          <a:pt x="4" y="3"/>
                        </a:lnTo>
                        <a:lnTo>
                          <a:pt x="2" y="6"/>
                        </a:lnTo>
                        <a:lnTo>
                          <a:pt x="0" y="9"/>
                        </a:lnTo>
                        <a:lnTo>
                          <a:pt x="0" y="14"/>
                        </a:lnTo>
                        <a:lnTo>
                          <a:pt x="0" y="17"/>
                        </a:lnTo>
                        <a:lnTo>
                          <a:pt x="1" y="21"/>
                        </a:lnTo>
                        <a:lnTo>
                          <a:pt x="151" y="334"/>
                        </a:lnTo>
                        <a:lnTo>
                          <a:pt x="153" y="339"/>
                        </a:lnTo>
                        <a:lnTo>
                          <a:pt x="156" y="341"/>
                        </a:lnTo>
                        <a:lnTo>
                          <a:pt x="161" y="343"/>
                        </a:lnTo>
                        <a:lnTo>
                          <a:pt x="164" y="343"/>
                        </a:lnTo>
                        <a:lnTo>
                          <a:pt x="164" y="343"/>
                        </a:lnTo>
                        <a:close/>
                      </a:path>
                    </a:pathLst>
                  </a:custGeom>
                  <a:gradFill>
                    <a:gsLst>
                      <a:gs pos="1000">
                        <a:schemeClr val="tx2">
                          <a:alpha val="85000"/>
                        </a:schemeClr>
                      </a:gs>
                      <a:gs pos="100000">
                        <a:schemeClr val="bg2">
                          <a:alpha val="8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32" name="Group 31"/>
            <p:cNvGrpSpPr/>
            <p:nvPr/>
          </p:nvGrpSpPr>
          <p:grpSpPr>
            <a:xfrm>
              <a:off x="6473808" y="2445590"/>
              <a:ext cx="2196473" cy="1603703"/>
              <a:chOff x="6411481" y="2445590"/>
              <a:chExt cx="2196473" cy="1603703"/>
            </a:xfrm>
          </p:grpSpPr>
          <p:sp>
            <p:nvSpPr>
              <p:cNvPr id="51" name="TextBox 50"/>
              <p:cNvSpPr txBox="1"/>
              <p:nvPr/>
            </p:nvSpPr>
            <p:spPr>
              <a:xfrm>
                <a:off x="6411481" y="3310629"/>
                <a:ext cx="2196473" cy="738664"/>
              </a:xfrm>
              <a:prstGeom prst="rect">
                <a:avLst/>
              </a:prstGeom>
              <a:noFill/>
              <a:ln w="6350">
                <a:noFill/>
                <a:prstDash val="dash"/>
              </a:ln>
            </p:spPr>
            <p:txBody>
              <a:bodyPr wrap="square" lIns="0" tIns="0" rIns="0" bIns="0" rtlCol="0">
                <a:spAutoFit/>
              </a:bodyPr>
              <a:lstStyle/>
              <a:p>
                <a:pPr algn="ctr"/>
                <a:r>
                  <a:rPr lang="en-US" sz="1200" dirty="0">
                    <a:solidFill>
                      <a:schemeClr val="bg1"/>
                    </a:solidFill>
                  </a:rPr>
                  <a:t>Our team of designers can handle toughest of challenges when it comes to designing a mechanical seal.</a:t>
                </a:r>
              </a:p>
            </p:txBody>
          </p:sp>
          <p:sp>
            <p:nvSpPr>
              <p:cNvPr id="53" name="TextBox 52"/>
              <p:cNvSpPr txBox="1"/>
              <p:nvPr/>
            </p:nvSpPr>
            <p:spPr>
              <a:xfrm>
                <a:off x="6573595" y="3024467"/>
                <a:ext cx="1872244" cy="246221"/>
              </a:xfrm>
              <a:prstGeom prst="rect">
                <a:avLst/>
              </a:prstGeom>
              <a:noFill/>
              <a:ln w="6350">
                <a:noFill/>
                <a:prstDash val="dash"/>
              </a:ln>
            </p:spPr>
            <p:txBody>
              <a:bodyPr wrap="square" lIns="0" tIns="0" rIns="0" bIns="0" rtlCol="0">
                <a:spAutoFit/>
              </a:bodyPr>
              <a:lstStyle/>
              <a:p>
                <a:pPr algn="ctr"/>
                <a:r>
                  <a:rPr lang="en-US" sz="1600" b="1" dirty="0">
                    <a:solidFill>
                      <a:schemeClr val="bg1"/>
                    </a:solidFill>
                  </a:rPr>
                  <a:t>EFFECTIVE DESIGN</a:t>
                </a:r>
              </a:p>
            </p:txBody>
          </p:sp>
          <p:grpSp>
            <p:nvGrpSpPr>
              <p:cNvPr id="13" name="Group 12"/>
              <p:cNvGrpSpPr/>
              <p:nvPr/>
            </p:nvGrpSpPr>
            <p:grpSpPr>
              <a:xfrm>
                <a:off x="7240249" y="2445590"/>
                <a:ext cx="538936" cy="538936"/>
                <a:chOff x="6933539" y="2445590"/>
                <a:chExt cx="538936" cy="538936"/>
              </a:xfrm>
            </p:grpSpPr>
            <p:sp>
              <p:nvSpPr>
                <p:cNvPr id="55" name="Oval 54"/>
                <p:cNvSpPr/>
                <p:nvPr/>
              </p:nvSpPr>
              <p:spPr>
                <a:xfrm>
                  <a:off x="6933539" y="2445590"/>
                  <a:ext cx="538936" cy="538936"/>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Freeform 57"/>
                <p:cNvSpPr>
                  <a:spLocks noChangeAspect="1" noEditPoints="1"/>
                </p:cNvSpPr>
                <p:nvPr/>
              </p:nvSpPr>
              <p:spPr bwMode="auto">
                <a:xfrm>
                  <a:off x="7090832" y="2571058"/>
                  <a:ext cx="224353" cy="288000"/>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3" name="Group 32"/>
            <p:cNvGrpSpPr/>
            <p:nvPr/>
          </p:nvGrpSpPr>
          <p:grpSpPr>
            <a:xfrm>
              <a:off x="9409223" y="2445590"/>
              <a:ext cx="2196473" cy="1419037"/>
              <a:chOff x="8625498" y="2445590"/>
              <a:chExt cx="2196473" cy="1419037"/>
            </a:xfrm>
          </p:grpSpPr>
          <p:sp>
            <p:nvSpPr>
              <p:cNvPr id="66" name="TextBox 65"/>
              <p:cNvSpPr txBox="1"/>
              <p:nvPr/>
            </p:nvSpPr>
            <p:spPr>
              <a:xfrm>
                <a:off x="8625498" y="3310629"/>
                <a:ext cx="2196473" cy="553998"/>
              </a:xfrm>
              <a:prstGeom prst="rect">
                <a:avLst/>
              </a:prstGeom>
              <a:noFill/>
              <a:ln w="6350">
                <a:noFill/>
                <a:prstDash val="dash"/>
              </a:ln>
            </p:spPr>
            <p:txBody>
              <a:bodyPr wrap="square" lIns="0" tIns="0" rIns="0" bIns="0" rtlCol="0">
                <a:spAutoFit/>
              </a:bodyPr>
              <a:lstStyle/>
              <a:p>
                <a:pPr algn="ctr"/>
                <a:r>
                  <a:rPr lang="en-US" sz="1200" dirty="0">
                    <a:solidFill>
                      <a:schemeClr val="bg1"/>
                    </a:solidFill>
                  </a:rPr>
                  <a:t>With great hold on operations, we make sure we deliver products 100% on time.</a:t>
                </a:r>
              </a:p>
            </p:txBody>
          </p:sp>
          <p:sp>
            <p:nvSpPr>
              <p:cNvPr id="68" name="TextBox 67"/>
              <p:cNvSpPr txBox="1"/>
              <p:nvPr/>
            </p:nvSpPr>
            <p:spPr>
              <a:xfrm>
                <a:off x="8787612" y="3024467"/>
                <a:ext cx="1872244" cy="246221"/>
              </a:xfrm>
              <a:prstGeom prst="rect">
                <a:avLst/>
              </a:prstGeom>
              <a:noFill/>
              <a:ln w="6350">
                <a:noFill/>
                <a:prstDash val="dash"/>
              </a:ln>
            </p:spPr>
            <p:txBody>
              <a:bodyPr wrap="square" lIns="0" tIns="0" rIns="0" bIns="0" rtlCol="0">
                <a:spAutoFit/>
              </a:bodyPr>
              <a:lstStyle/>
              <a:p>
                <a:pPr algn="ctr"/>
                <a:r>
                  <a:rPr lang="en-US" sz="1600" b="1" dirty="0">
                    <a:solidFill>
                      <a:schemeClr val="bg1"/>
                    </a:solidFill>
                  </a:rPr>
                  <a:t>DELIVERY</a:t>
                </a:r>
              </a:p>
            </p:txBody>
          </p:sp>
          <p:sp>
            <p:nvSpPr>
              <p:cNvPr id="70" name="Oval 69"/>
              <p:cNvSpPr/>
              <p:nvPr/>
            </p:nvSpPr>
            <p:spPr>
              <a:xfrm>
                <a:off x="9454266" y="2445590"/>
                <a:ext cx="538936" cy="538936"/>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11" name="Graphic 10" descr="Truck">
            <a:extLst>
              <a:ext uri="{FF2B5EF4-FFF2-40B4-BE49-F238E27FC236}">
                <a16:creationId xmlns:a16="http://schemas.microsoft.com/office/drawing/2014/main" id="{253339A0-AA1B-43FF-A1DF-C803E877DB7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80262" y="2315180"/>
            <a:ext cx="479179" cy="479179"/>
          </a:xfrm>
          <a:prstGeom prst="rect">
            <a:avLst/>
          </a:prstGeom>
        </p:spPr>
      </p:pic>
    </p:spTree>
    <p:extLst>
      <p:ext uri="{BB962C8B-B14F-4D97-AF65-F5344CB8AC3E}">
        <p14:creationId xmlns:p14="http://schemas.microsoft.com/office/powerpoint/2010/main" val="20550937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Placeholder 107"/>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t="12632" b="12632"/>
          <a:stretch>
            <a:fillRect/>
          </a:stretch>
        </p:blipFill>
        <p:spPr/>
      </p:pic>
      <p:sp>
        <p:nvSpPr>
          <p:cNvPr id="107" name="Rectangle 106"/>
          <p:cNvSpPr/>
          <p:nvPr/>
        </p:nvSpPr>
        <p:spPr>
          <a:xfrm>
            <a:off x="0" y="1"/>
            <a:ext cx="12192000" cy="2133057"/>
          </a:xfrm>
          <a:prstGeom prst="rect">
            <a:avLst/>
          </a:prstGeom>
          <a:solidFill>
            <a:srgbClr val="8AAAE5">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p:nvGrpSpPr>
        <p:grpSpPr>
          <a:xfrm>
            <a:off x="1827028" y="441753"/>
            <a:ext cx="8537944" cy="880221"/>
            <a:chOff x="2679953" y="549276"/>
            <a:chExt cx="8537944" cy="880221"/>
          </a:xfrm>
        </p:grpSpPr>
        <p:grpSp>
          <p:nvGrpSpPr>
            <p:cNvPr id="2" name="Group 1"/>
            <p:cNvGrpSpPr/>
            <p:nvPr/>
          </p:nvGrpSpPr>
          <p:grpSpPr>
            <a:xfrm>
              <a:off x="5062113" y="549276"/>
              <a:ext cx="3773624" cy="492443"/>
              <a:chOff x="4209188" y="549276"/>
              <a:chExt cx="3773624" cy="492443"/>
            </a:xfrm>
          </p:grpSpPr>
          <p:sp>
            <p:nvSpPr>
              <p:cNvPr id="3" name="Line 6"/>
              <p:cNvSpPr>
                <a:spLocks noChangeShapeType="1"/>
              </p:cNvSpPr>
              <p:nvPr/>
            </p:nvSpPr>
            <p:spPr bwMode="auto">
              <a:xfrm>
                <a:off x="5914231" y="1024553"/>
                <a:ext cx="363538" cy="0"/>
              </a:xfrm>
              <a:prstGeom prst="line">
                <a:avLst/>
              </a:prstGeom>
              <a:noFill/>
              <a:ln w="571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 name="TextBox 3"/>
              <p:cNvSpPr txBox="1"/>
              <p:nvPr/>
            </p:nvSpPr>
            <p:spPr>
              <a:xfrm>
                <a:off x="4209188" y="549276"/>
                <a:ext cx="3773624" cy="492443"/>
              </a:xfrm>
              <a:prstGeom prst="rect">
                <a:avLst/>
              </a:prstGeom>
              <a:noFill/>
              <a:ln w="6350">
                <a:noFill/>
                <a:prstDash val="dash"/>
              </a:ln>
            </p:spPr>
            <p:txBody>
              <a:bodyPr wrap="square" lIns="0" tIns="0" rIns="0" bIns="0" rtlCol="0">
                <a:spAutoFit/>
              </a:bodyPr>
              <a:lstStyle/>
              <a:p>
                <a:pPr algn="ctr"/>
                <a:r>
                  <a:rPr lang="en-US" sz="3200" b="1" dirty="0">
                    <a:solidFill>
                      <a:schemeClr val="bg1"/>
                    </a:solidFill>
                  </a:rPr>
                  <a:t>OUR </a:t>
                </a:r>
                <a:r>
                  <a:rPr lang="en-US" sz="3200" dirty="0">
                    <a:solidFill>
                      <a:schemeClr val="bg1"/>
                    </a:solidFill>
                  </a:rPr>
                  <a:t>HISTORY</a:t>
                </a:r>
              </a:p>
            </p:txBody>
          </p:sp>
        </p:grpSp>
        <p:sp>
          <p:nvSpPr>
            <p:cNvPr id="11" name="TextBox 10"/>
            <p:cNvSpPr txBox="1"/>
            <p:nvPr/>
          </p:nvSpPr>
          <p:spPr>
            <a:xfrm>
              <a:off x="2679953" y="1244831"/>
              <a:ext cx="8537944" cy="184666"/>
            </a:xfrm>
            <a:prstGeom prst="rect">
              <a:avLst/>
            </a:prstGeom>
            <a:noFill/>
            <a:ln w="6350">
              <a:noFill/>
              <a:prstDash val="dash"/>
            </a:ln>
          </p:spPr>
          <p:txBody>
            <a:bodyPr wrap="square" lIns="0" tIns="0" rIns="0" bIns="0" rtlCol="0">
              <a:spAutoFit/>
            </a:bodyPr>
            <a:lstStyle/>
            <a:p>
              <a:pPr algn="ctr"/>
              <a:r>
                <a:rPr lang="en-US" sz="1200" dirty="0">
                  <a:solidFill>
                    <a:schemeClr val="bg1"/>
                  </a:solidFill>
                </a:rPr>
                <a:t>We’ve come a long way since our humble beginning in 1996. Here are some milestones we have reached.</a:t>
              </a:r>
            </a:p>
          </p:txBody>
        </p:sp>
      </p:grpSp>
      <p:sp>
        <p:nvSpPr>
          <p:cNvPr id="21" name="Rectangle 20"/>
          <p:cNvSpPr/>
          <p:nvPr/>
        </p:nvSpPr>
        <p:spPr>
          <a:xfrm>
            <a:off x="-32959" y="5946472"/>
            <a:ext cx="12192000" cy="619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sosceles Triangle 21"/>
          <p:cNvSpPr/>
          <p:nvPr/>
        </p:nvSpPr>
        <p:spPr>
          <a:xfrm rot="10800000">
            <a:off x="1215007" y="5937572"/>
            <a:ext cx="230661" cy="180770"/>
          </a:xfrm>
          <a:prstGeom prst="triangle">
            <a:avLst/>
          </a:prstGeom>
          <a:solidFill>
            <a:schemeClr val="bg1"/>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p:cNvSpPr/>
          <p:nvPr/>
        </p:nvSpPr>
        <p:spPr>
          <a:xfrm rot="10800000">
            <a:off x="1289915" y="6026574"/>
            <a:ext cx="80845" cy="63359"/>
          </a:xfrm>
          <a:prstGeom prst="triangle">
            <a:avLst/>
          </a:pr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1061691" y="6177771"/>
            <a:ext cx="537293"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75000"/>
                    <a:lumOff val="25000"/>
                  </a:schemeClr>
                </a:solidFill>
              </a:rPr>
              <a:t>1996</a:t>
            </a:r>
          </a:p>
        </p:txBody>
      </p:sp>
      <p:cxnSp>
        <p:nvCxnSpPr>
          <p:cNvPr id="27" name="Straight Connector 26"/>
          <p:cNvCxnSpPr>
            <a:cxnSpLocks/>
          </p:cNvCxnSpPr>
          <p:nvPr/>
        </p:nvCxnSpPr>
        <p:spPr>
          <a:xfrm flipV="1">
            <a:off x="1330337" y="4977183"/>
            <a:ext cx="0" cy="958008"/>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811523" y="2713696"/>
            <a:ext cx="1037628" cy="1037628"/>
            <a:chOff x="1213108" y="2842718"/>
            <a:chExt cx="779585" cy="779585"/>
          </a:xfrm>
        </p:grpSpPr>
        <p:sp>
          <p:nvSpPr>
            <p:cNvPr id="28" name="Diamond 27"/>
            <p:cNvSpPr/>
            <p:nvPr/>
          </p:nvSpPr>
          <p:spPr>
            <a:xfrm>
              <a:off x="1213108" y="2842718"/>
              <a:ext cx="779585" cy="779585"/>
            </a:xfrm>
            <a:prstGeom prst="diamond">
              <a:avLst/>
            </a:prstGeom>
            <a:noFill/>
            <a:ln w="127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p:cNvGrpSpPr>
              <a:grpSpLocks noChangeAspect="1"/>
            </p:cNvGrpSpPr>
            <p:nvPr/>
          </p:nvGrpSpPr>
          <p:grpSpPr>
            <a:xfrm>
              <a:off x="1458900" y="3088510"/>
              <a:ext cx="288000" cy="288000"/>
              <a:chOff x="4906963" y="3335338"/>
              <a:chExt cx="276225" cy="276225"/>
            </a:xfrm>
            <a:gradFill>
              <a:gsLst>
                <a:gs pos="0">
                  <a:schemeClr val="bg2"/>
                </a:gs>
                <a:gs pos="100000">
                  <a:schemeClr val="tx2"/>
                </a:gs>
              </a:gsLst>
              <a:lin ang="5400000" scaled="1"/>
            </a:gradFill>
          </p:grpSpPr>
          <p:sp>
            <p:nvSpPr>
              <p:cNvPr id="30" name="Freeform 106"/>
              <p:cNvSpPr>
                <a:spLocks noEditPoints="1"/>
              </p:cNvSpPr>
              <p:nvPr/>
            </p:nvSpPr>
            <p:spPr bwMode="auto">
              <a:xfrm>
                <a:off x="4911725" y="3335338"/>
                <a:ext cx="271463" cy="271463"/>
              </a:xfrm>
              <a:custGeom>
                <a:avLst/>
                <a:gdLst>
                  <a:gd name="T0" fmla="*/ 661 w 852"/>
                  <a:gd name="T1" fmla="*/ 306 h 853"/>
                  <a:gd name="T2" fmla="*/ 437 w 852"/>
                  <a:gd name="T3" fmla="*/ 531 h 853"/>
                  <a:gd name="T4" fmla="*/ 415 w 852"/>
                  <a:gd name="T5" fmla="*/ 325 h 853"/>
                  <a:gd name="T6" fmla="*/ 666 w 852"/>
                  <a:gd name="T7" fmla="*/ 77 h 853"/>
                  <a:gd name="T8" fmla="*/ 728 w 852"/>
                  <a:gd name="T9" fmla="*/ 53 h 853"/>
                  <a:gd name="T10" fmla="*/ 820 w 852"/>
                  <a:gd name="T11" fmla="*/ 33 h 853"/>
                  <a:gd name="T12" fmla="*/ 800 w 852"/>
                  <a:gd name="T13" fmla="*/ 126 h 853"/>
                  <a:gd name="T14" fmla="*/ 776 w 852"/>
                  <a:gd name="T15" fmla="*/ 187 h 853"/>
                  <a:gd name="T16" fmla="*/ 500 w 852"/>
                  <a:gd name="T17" fmla="*/ 634 h 853"/>
                  <a:gd name="T18" fmla="*/ 468 w 852"/>
                  <a:gd name="T19" fmla="*/ 683 h 853"/>
                  <a:gd name="T20" fmla="*/ 374 w 852"/>
                  <a:gd name="T21" fmla="*/ 777 h 853"/>
                  <a:gd name="T22" fmla="*/ 400 w 852"/>
                  <a:gd name="T23" fmla="*/ 609 h 853"/>
                  <a:gd name="T24" fmla="*/ 426 w 852"/>
                  <a:gd name="T25" fmla="*/ 583 h 853"/>
                  <a:gd name="T26" fmla="*/ 520 w 852"/>
                  <a:gd name="T27" fmla="*/ 524 h 853"/>
                  <a:gd name="T28" fmla="*/ 507 w 852"/>
                  <a:gd name="T29" fmla="*/ 612 h 853"/>
                  <a:gd name="T30" fmla="*/ 367 w 852"/>
                  <a:gd name="T31" fmla="*/ 599 h 853"/>
                  <a:gd name="T32" fmla="*/ 329 w 852"/>
                  <a:gd name="T33" fmla="*/ 638 h 853"/>
                  <a:gd name="T34" fmla="*/ 191 w 852"/>
                  <a:gd name="T35" fmla="*/ 370 h 853"/>
                  <a:gd name="T36" fmla="*/ 227 w 852"/>
                  <a:gd name="T37" fmla="*/ 349 h 853"/>
                  <a:gd name="T38" fmla="*/ 290 w 852"/>
                  <a:gd name="T39" fmla="*/ 338 h 853"/>
                  <a:gd name="T40" fmla="*/ 55 w 852"/>
                  <a:gd name="T41" fmla="*/ 503 h 853"/>
                  <a:gd name="T42" fmla="*/ 154 w 852"/>
                  <a:gd name="T43" fmla="*/ 400 h 853"/>
                  <a:gd name="T44" fmla="*/ 840 w 852"/>
                  <a:gd name="T45" fmla="*/ 1 h 853"/>
                  <a:gd name="T46" fmla="*/ 775 w 852"/>
                  <a:gd name="T47" fmla="*/ 11 h 853"/>
                  <a:gd name="T48" fmla="*/ 695 w 852"/>
                  <a:gd name="T49" fmla="*/ 32 h 853"/>
                  <a:gd name="T50" fmla="*/ 642 w 852"/>
                  <a:gd name="T51" fmla="*/ 57 h 853"/>
                  <a:gd name="T52" fmla="*/ 362 w 852"/>
                  <a:gd name="T53" fmla="*/ 302 h 853"/>
                  <a:gd name="T54" fmla="*/ 259 w 852"/>
                  <a:gd name="T55" fmla="*/ 311 h 853"/>
                  <a:gd name="T56" fmla="*/ 195 w 852"/>
                  <a:gd name="T57" fmla="*/ 332 h 853"/>
                  <a:gd name="T58" fmla="*/ 133 w 852"/>
                  <a:gd name="T59" fmla="*/ 379 h 853"/>
                  <a:gd name="T60" fmla="*/ 3 w 852"/>
                  <a:gd name="T61" fmla="*/ 515 h 853"/>
                  <a:gd name="T62" fmla="*/ 1 w 852"/>
                  <a:gd name="T63" fmla="*/ 532 h 853"/>
                  <a:gd name="T64" fmla="*/ 14 w 852"/>
                  <a:gd name="T65" fmla="*/ 539 h 853"/>
                  <a:gd name="T66" fmla="*/ 180 w 852"/>
                  <a:gd name="T67" fmla="*/ 520 h 853"/>
                  <a:gd name="T68" fmla="*/ 318 w 852"/>
                  <a:gd name="T69" fmla="*/ 669 h 853"/>
                  <a:gd name="T70" fmla="*/ 329 w 852"/>
                  <a:gd name="T71" fmla="*/ 674 h 853"/>
                  <a:gd name="T72" fmla="*/ 338 w 852"/>
                  <a:gd name="T73" fmla="*/ 671 h 853"/>
                  <a:gd name="T74" fmla="*/ 318 w 852"/>
                  <a:gd name="T75" fmla="*/ 849 h 853"/>
                  <a:gd name="T76" fmla="*/ 334 w 852"/>
                  <a:gd name="T77" fmla="*/ 853 h 853"/>
                  <a:gd name="T78" fmla="*/ 432 w 852"/>
                  <a:gd name="T79" fmla="*/ 762 h 853"/>
                  <a:gd name="T80" fmla="*/ 514 w 852"/>
                  <a:gd name="T81" fmla="*/ 670 h 853"/>
                  <a:gd name="T82" fmla="*/ 537 w 852"/>
                  <a:gd name="T83" fmla="*/ 616 h 853"/>
                  <a:gd name="T84" fmla="*/ 550 w 852"/>
                  <a:gd name="T85" fmla="*/ 517 h 853"/>
                  <a:gd name="T86" fmla="*/ 592 w 852"/>
                  <a:gd name="T87" fmla="*/ 418 h 853"/>
                  <a:gd name="T88" fmla="*/ 729 w 852"/>
                  <a:gd name="T89" fmla="*/ 280 h 853"/>
                  <a:gd name="T90" fmla="*/ 796 w 852"/>
                  <a:gd name="T91" fmla="*/ 212 h 853"/>
                  <a:gd name="T92" fmla="*/ 821 w 852"/>
                  <a:gd name="T93" fmla="*/ 158 h 853"/>
                  <a:gd name="T94" fmla="*/ 843 w 852"/>
                  <a:gd name="T95" fmla="*/ 78 h 853"/>
                  <a:gd name="T96" fmla="*/ 852 w 852"/>
                  <a:gd name="T97" fmla="*/ 15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2" h="853">
                    <a:moveTo>
                      <a:pt x="767" y="199"/>
                    </a:moveTo>
                    <a:lnTo>
                      <a:pt x="744" y="222"/>
                    </a:lnTo>
                    <a:lnTo>
                      <a:pt x="708" y="259"/>
                    </a:lnTo>
                    <a:lnTo>
                      <a:pt x="661" y="306"/>
                    </a:lnTo>
                    <a:lnTo>
                      <a:pt x="607" y="361"/>
                    </a:lnTo>
                    <a:lnTo>
                      <a:pt x="550" y="417"/>
                    </a:lnTo>
                    <a:lnTo>
                      <a:pt x="492" y="476"/>
                    </a:lnTo>
                    <a:lnTo>
                      <a:pt x="437" y="531"/>
                    </a:lnTo>
                    <a:lnTo>
                      <a:pt x="389" y="578"/>
                    </a:lnTo>
                    <a:lnTo>
                      <a:pt x="275" y="464"/>
                    </a:lnTo>
                    <a:lnTo>
                      <a:pt x="415" y="325"/>
                    </a:lnTo>
                    <a:lnTo>
                      <a:pt x="415" y="325"/>
                    </a:lnTo>
                    <a:lnTo>
                      <a:pt x="415" y="325"/>
                    </a:lnTo>
                    <a:lnTo>
                      <a:pt x="654" y="85"/>
                    </a:lnTo>
                    <a:lnTo>
                      <a:pt x="660" y="81"/>
                    </a:lnTo>
                    <a:lnTo>
                      <a:pt x="666" y="77"/>
                    </a:lnTo>
                    <a:lnTo>
                      <a:pt x="675" y="73"/>
                    </a:lnTo>
                    <a:lnTo>
                      <a:pt x="683" y="68"/>
                    </a:lnTo>
                    <a:lnTo>
                      <a:pt x="705" y="60"/>
                    </a:lnTo>
                    <a:lnTo>
                      <a:pt x="728" y="53"/>
                    </a:lnTo>
                    <a:lnTo>
                      <a:pt x="752" y="47"/>
                    </a:lnTo>
                    <a:lnTo>
                      <a:pt x="776" y="42"/>
                    </a:lnTo>
                    <a:lnTo>
                      <a:pt x="800" y="37"/>
                    </a:lnTo>
                    <a:lnTo>
                      <a:pt x="820" y="33"/>
                    </a:lnTo>
                    <a:lnTo>
                      <a:pt x="817" y="54"/>
                    </a:lnTo>
                    <a:lnTo>
                      <a:pt x="812" y="77"/>
                    </a:lnTo>
                    <a:lnTo>
                      <a:pt x="806" y="102"/>
                    </a:lnTo>
                    <a:lnTo>
                      <a:pt x="800" y="126"/>
                    </a:lnTo>
                    <a:lnTo>
                      <a:pt x="794" y="149"/>
                    </a:lnTo>
                    <a:lnTo>
                      <a:pt x="785" y="170"/>
                    </a:lnTo>
                    <a:lnTo>
                      <a:pt x="781" y="179"/>
                    </a:lnTo>
                    <a:lnTo>
                      <a:pt x="776" y="187"/>
                    </a:lnTo>
                    <a:lnTo>
                      <a:pt x="772" y="194"/>
                    </a:lnTo>
                    <a:lnTo>
                      <a:pt x="767" y="199"/>
                    </a:lnTo>
                    <a:close/>
                    <a:moveTo>
                      <a:pt x="503" y="624"/>
                    </a:moveTo>
                    <a:lnTo>
                      <a:pt x="500" y="634"/>
                    </a:lnTo>
                    <a:lnTo>
                      <a:pt x="495" y="643"/>
                    </a:lnTo>
                    <a:lnTo>
                      <a:pt x="490" y="653"/>
                    </a:lnTo>
                    <a:lnTo>
                      <a:pt x="482" y="663"/>
                    </a:lnTo>
                    <a:lnTo>
                      <a:pt x="468" y="683"/>
                    </a:lnTo>
                    <a:lnTo>
                      <a:pt x="453" y="699"/>
                    </a:lnTo>
                    <a:lnTo>
                      <a:pt x="429" y="724"/>
                    </a:lnTo>
                    <a:lnTo>
                      <a:pt x="401" y="751"/>
                    </a:lnTo>
                    <a:lnTo>
                      <a:pt x="374" y="777"/>
                    </a:lnTo>
                    <a:lnTo>
                      <a:pt x="349" y="799"/>
                    </a:lnTo>
                    <a:lnTo>
                      <a:pt x="373" y="637"/>
                    </a:lnTo>
                    <a:lnTo>
                      <a:pt x="386" y="624"/>
                    </a:lnTo>
                    <a:lnTo>
                      <a:pt x="400" y="609"/>
                    </a:lnTo>
                    <a:lnTo>
                      <a:pt x="400" y="609"/>
                    </a:lnTo>
                    <a:lnTo>
                      <a:pt x="400" y="609"/>
                    </a:lnTo>
                    <a:lnTo>
                      <a:pt x="400" y="609"/>
                    </a:lnTo>
                    <a:lnTo>
                      <a:pt x="426" y="583"/>
                    </a:lnTo>
                    <a:lnTo>
                      <a:pt x="455" y="553"/>
                    </a:lnTo>
                    <a:lnTo>
                      <a:pt x="487" y="521"/>
                    </a:lnTo>
                    <a:lnTo>
                      <a:pt x="522" y="488"/>
                    </a:lnTo>
                    <a:lnTo>
                      <a:pt x="520" y="524"/>
                    </a:lnTo>
                    <a:lnTo>
                      <a:pt x="515" y="563"/>
                    </a:lnTo>
                    <a:lnTo>
                      <a:pt x="512" y="581"/>
                    </a:lnTo>
                    <a:lnTo>
                      <a:pt x="510" y="598"/>
                    </a:lnTo>
                    <a:lnTo>
                      <a:pt x="507" y="612"/>
                    </a:lnTo>
                    <a:lnTo>
                      <a:pt x="503" y="624"/>
                    </a:lnTo>
                    <a:close/>
                    <a:moveTo>
                      <a:pt x="215" y="524"/>
                    </a:moveTo>
                    <a:lnTo>
                      <a:pt x="254" y="487"/>
                    </a:lnTo>
                    <a:lnTo>
                      <a:pt x="367" y="599"/>
                    </a:lnTo>
                    <a:lnTo>
                      <a:pt x="356" y="611"/>
                    </a:lnTo>
                    <a:lnTo>
                      <a:pt x="345" y="623"/>
                    </a:lnTo>
                    <a:lnTo>
                      <a:pt x="336" y="631"/>
                    </a:lnTo>
                    <a:lnTo>
                      <a:pt x="329" y="638"/>
                    </a:lnTo>
                    <a:lnTo>
                      <a:pt x="215" y="524"/>
                    </a:lnTo>
                    <a:close/>
                    <a:moveTo>
                      <a:pt x="154" y="400"/>
                    </a:moveTo>
                    <a:lnTo>
                      <a:pt x="172" y="385"/>
                    </a:lnTo>
                    <a:lnTo>
                      <a:pt x="191" y="370"/>
                    </a:lnTo>
                    <a:lnTo>
                      <a:pt x="200" y="364"/>
                    </a:lnTo>
                    <a:lnTo>
                      <a:pt x="210" y="357"/>
                    </a:lnTo>
                    <a:lnTo>
                      <a:pt x="220" y="353"/>
                    </a:lnTo>
                    <a:lnTo>
                      <a:pt x="227" y="349"/>
                    </a:lnTo>
                    <a:lnTo>
                      <a:pt x="239" y="346"/>
                    </a:lnTo>
                    <a:lnTo>
                      <a:pt x="254" y="342"/>
                    </a:lnTo>
                    <a:lnTo>
                      <a:pt x="271" y="340"/>
                    </a:lnTo>
                    <a:lnTo>
                      <a:pt x="290" y="338"/>
                    </a:lnTo>
                    <a:lnTo>
                      <a:pt x="329" y="334"/>
                    </a:lnTo>
                    <a:lnTo>
                      <a:pt x="366" y="331"/>
                    </a:lnTo>
                    <a:lnTo>
                      <a:pt x="218" y="480"/>
                    </a:lnTo>
                    <a:lnTo>
                      <a:pt x="55" y="503"/>
                    </a:lnTo>
                    <a:lnTo>
                      <a:pt x="77" y="479"/>
                    </a:lnTo>
                    <a:lnTo>
                      <a:pt x="103" y="453"/>
                    </a:lnTo>
                    <a:lnTo>
                      <a:pt x="130" y="425"/>
                    </a:lnTo>
                    <a:lnTo>
                      <a:pt x="154" y="400"/>
                    </a:lnTo>
                    <a:close/>
                    <a:moveTo>
                      <a:pt x="848" y="5"/>
                    </a:moveTo>
                    <a:lnTo>
                      <a:pt x="846" y="3"/>
                    </a:lnTo>
                    <a:lnTo>
                      <a:pt x="843" y="2"/>
                    </a:lnTo>
                    <a:lnTo>
                      <a:pt x="840" y="1"/>
                    </a:lnTo>
                    <a:lnTo>
                      <a:pt x="836" y="0"/>
                    </a:lnTo>
                    <a:lnTo>
                      <a:pt x="825" y="2"/>
                    </a:lnTo>
                    <a:lnTo>
                      <a:pt x="803" y="6"/>
                    </a:lnTo>
                    <a:lnTo>
                      <a:pt x="775" y="11"/>
                    </a:lnTo>
                    <a:lnTo>
                      <a:pt x="744" y="18"/>
                    </a:lnTo>
                    <a:lnTo>
                      <a:pt x="727" y="22"/>
                    </a:lnTo>
                    <a:lnTo>
                      <a:pt x="711" y="27"/>
                    </a:lnTo>
                    <a:lnTo>
                      <a:pt x="695" y="32"/>
                    </a:lnTo>
                    <a:lnTo>
                      <a:pt x="680" y="37"/>
                    </a:lnTo>
                    <a:lnTo>
                      <a:pt x="666" y="44"/>
                    </a:lnTo>
                    <a:lnTo>
                      <a:pt x="653" y="50"/>
                    </a:lnTo>
                    <a:lnTo>
                      <a:pt x="642" y="57"/>
                    </a:lnTo>
                    <a:lnTo>
                      <a:pt x="633" y="65"/>
                    </a:lnTo>
                    <a:lnTo>
                      <a:pt x="397" y="300"/>
                    </a:lnTo>
                    <a:lnTo>
                      <a:pt x="382" y="301"/>
                    </a:lnTo>
                    <a:lnTo>
                      <a:pt x="362" y="302"/>
                    </a:lnTo>
                    <a:lnTo>
                      <a:pt x="338" y="304"/>
                    </a:lnTo>
                    <a:lnTo>
                      <a:pt x="312" y="306"/>
                    </a:lnTo>
                    <a:lnTo>
                      <a:pt x="285" y="308"/>
                    </a:lnTo>
                    <a:lnTo>
                      <a:pt x="259" y="311"/>
                    </a:lnTo>
                    <a:lnTo>
                      <a:pt x="237" y="316"/>
                    </a:lnTo>
                    <a:lnTo>
                      <a:pt x="219" y="321"/>
                    </a:lnTo>
                    <a:lnTo>
                      <a:pt x="207" y="325"/>
                    </a:lnTo>
                    <a:lnTo>
                      <a:pt x="195" y="332"/>
                    </a:lnTo>
                    <a:lnTo>
                      <a:pt x="183" y="339"/>
                    </a:lnTo>
                    <a:lnTo>
                      <a:pt x="172" y="347"/>
                    </a:lnTo>
                    <a:lnTo>
                      <a:pt x="150" y="364"/>
                    </a:lnTo>
                    <a:lnTo>
                      <a:pt x="133" y="379"/>
                    </a:lnTo>
                    <a:lnTo>
                      <a:pt x="91" y="423"/>
                    </a:lnTo>
                    <a:lnTo>
                      <a:pt x="50" y="467"/>
                    </a:lnTo>
                    <a:lnTo>
                      <a:pt x="17" y="501"/>
                    </a:lnTo>
                    <a:lnTo>
                      <a:pt x="3" y="515"/>
                    </a:lnTo>
                    <a:lnTo>
                      <a:pt x="1" y="519"/>
                    </a:lnTo>
                    <a:lnTo>
                      <a:pt x="0" y="523"/>
                    </a:lnTo>
                    <a:lnTo>
                      <a:pt x="0" y="528"/>
                    </a:lnTo>
                    <a:lnTo>
                      <a:pt x="1" y="532"/>
                    </a:lnTo>
                    <a:lnTo>
                      <a:pt x="3" y="535"/>
                    </a:lnTo>
                    <a:lnTo>
                      <a:pt x="7" y="537"/>
                    </a:lnTo>
                    <a:lnTo>
                      <a:pt x="11" y="538"/>
                    </a:lnTo>
                    <a:lnTo>
                      <a:pt x="14" y="539"/>
                    </a:lnTo>
                    <a:lnTo>
                      <a:pt x="15" y="539"/>
                    </a:lnTo>
                    <a:lnTo>
                      <a:pt x="16" y="539"/>
                    </a:lnTo>
                    <a:lnTo>
                      <a:pt x="182" y="515"/>
                    </a:lnTo>
                    <a:lnTo>
                      <a:pt x="180" y="520"/>
                    </a:lnTo>
                    <a:lnTo>
                      <a:pt x="179" y="525"/>
                    </a:lnTo>
                    <a:lnTo>
                      <a:pt x="180" y="531"/>
                    </a:lnTo>
                    <a:lnTo>
                      <a:pt x="183" y="535"/>
                    </a:lnTo>
                    <a:lnTo>
                      <a:pt x="318" y="669"/>
                    </a:lnTo>
                    <a:lnTo>
                      <a:pt x="320" y="671"/>
                    </a:lnTo>
                    <a:lnTo>
                      <a:pt x="324" y="673"/>
                    </a:lnTo>
                    <a:lnTo>
                      <a:pt x="326" y="673"/>
                    </a:lnTo>
                    <a:lnTo>
                      <a:pt x="329" y="674"/>
                    </a:lnTo>
                    <a:lnTo>
                      <a:pt x="331" y="674"/>
                    </a:lnTo>
                    <a:lnTo>
                      <a:pt x="333" y="673"/>
                    </a:lnTo>
                    <a:lnTo>
                      <a:pt x="335" y="672"/>
                    </a:lnTo>
                    <a:lnTo>
                      <a:pt x="338" y="671"/>
                    </a:lnTo>
                    <a:lnTo>
                      <a:pt x="314" y="837"/>
                    </a:lnTo>
                    <a:lnTo>
                      <a:pt x="314" y="841"/>
                    </a:lnTo>
                    <a:lnTo>
                      <a:pt x="316" y="845"/>
                    </a:lnTo>
                    <a:lnTo>
                      <a:pt x="318" y="849"/>
                    </a:lnTo>
                    <a:lnTo>
                      <a:pt x="323" y="852"/>
                    </a:lnTo>
                    <a:lnTo>
                      <a:pt x="326" y="853"/>
                    </a:lnTo>
                    <a:lnTo>
                      <a:pt x="329" y="853"/>
                    </a:lnTo>
                    <a:lnTo>
                      <a:pt x="334" y="853"/>
                    </a:lnTo>
                    <a:lnTo>
                      <a:pt x="339" y="851"/>
                    </a:lnTo>
                    <a:lnTo>
                      <a:pt x="354" y="837"/>
                    </a:lnTo>
                    <a:lnTo>
                      <a:pt x="388" y="805"/>
                    </a:lnTo>
                    <a:lnTo>
                      <a:pt x="432" y="762"/>
                    </a:lnTo>
                    <a:lnTo>
                      <a:pt x="475" y="720"/>
                    </a:lnTo>
                    <a:lnTo>
                      <a:pt x="490" y="703"/>
                    </a:lnTo>
                    <a:lnTo>
                      <a:pt x="506" y="682"/>
                    </a:lnTo>
                    <a:lnTo>
                      <a:pt x="514" y="670"/>
                    </a:lnTo>
                    <a:lnTo>
                      <a:pt x="521" y="658"/>
                    </a:lnTo>
                    <a:lnTo>
                      <a:pt x="527" y="646"/>
                    </a:lnTo>
                    <a:lnTo>
                      <a:pt x="531" y="635"/>
                    </a:lnTo>
                    <a:lnTo>
                      <a:pt x="537" y="616"/>
                    </a:lnTo>
                    <a:lnTo>
                      <a:pt x="541" y="594"/>
                    </a:lnTo>
                    <a:lnTo>
                      <a:pt x="544" y="569"/>
                    </a:lnTo>
                    <a:lnTo>
                      <a:pt x="547" y="543"/>
                    </a:lnTo>
                    <a:lnTo>
                      <a:pt x="550" y="517"/>
                    </a:lnTo>
                    <a:lnTo>
                      <a:pt x="552" y="492"/>
                    </a:lnTo>
                    <a:lnTo>
                      <a:pt x="553" y="472"/>
                    </a:lnTo>
                    <a:lnTo>
                      <a:pt x="554" y="457"/>
                    </a:lnTo>
                    <a:lnTo>
                      <a:pt x="592" y="418"/>
                    </a:lnTo>
                    <a:lnTo>
                      <a:pt x="630" y="380"/>
                    </a:lnTo>
                    <a:lnTo>
                      <a:pt x="666" y="343"/>
                    </a:lnTo>
                    <a:lnTo>
                      <a:pt x="699" y="310"/>
                    </a:lnTo>
                    <a:lnTo>
                      <a:pt x="729" y="280"/>
                    </a:lnTo>
                    <a:lnTo>
                      <a:pt x="755" y="255"/>
                    </a:lnTo>
                    <a:lnTo>
                      <a:pt x="775" y="234"/>
                    </a:lnTo>
                    <a:lnTo>
                      <a:pt x="788" y="220"/>
                    </a:lnTo>
                    <a:lnTo>
                      <a:pt x="796" y="212"/>
                    </a:lnTo>
                    <a:lnTo>
                      <a:pt x="803" y="200"/>
                    </a:lnTo>
                    <a:lnTo>
                      <a:pt x="810" y="187"/>
                    </a:lnTo>
                    <a:lnTo>
                      <a:pt x="816" y="173"/>
                    </a:lnTo>
                    <a:lnTo>
                      <a:pt x="821" y="158"/>
                    </a:lnTo>
                    <a:lnTo>
                      <a:pt x="827" y="142"/>
                    </a:lnTo>
                    <a:lnTo>
                      <a:pt x="831" y="126"/>
                    </a:lnTo>
                    <a:lnTo>
                      <a:pt x="835" y="110"/>
                    </a:lnTo>
                    <a:lnTo>
                      <a:pt x="843" y="78"/>
                    </a:lnTo>
                    <a:lnTo>
                      <a:pt x="848" y="51"/>
                    </a:lnTo>
                    <a:lnTo>
                      <a:pt x="851" y="30"/>
                    </a:lnTo>
                    <a:lnTo>
                      <a:pt x="852" y="18"/>
                    </a:lnTo>
                    <a:lnTo>
                      <a:pt x="852" y="15"/>
                    </a:lnTo>
                    <a:lnTo>
                      <a:pt x="852" y="11"/>
                    </a:lnTo>
                    <a:lnTo>
                      <a:pt x="850" y="7"/>
                    </a:lnTo>
                    <a:lnTo>
                      <a:pt x="848" y="5"/>
                    </a:lnTo>
                    <a:close/>
                  </a:path>
                </a:pathLst>
              </a:custGeom>
              <a:solidFill>
                <a:srgbClr val="8AAAE5"/>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107"/>
              <p:cNvSpPr>
                <a:spLocks/>
              </p:cNvSpPr>
              <p:nvPr/>
            </p:nvSpPr>
            <p:spPr bwMode="auto">
              <a:xfrm>
                <a:off x="4906963" y="3517900"/>
                <a:ext cx="93663" cy="93663"/>
              </a:xfrm>
              <a:custGeom>
                <a:avLst/>
                <a:gdLst>
                  <a:gd name="T0" fmla="*/ 253 w 297"/>
                  <a:gd name="T1" fmla="*/ 79 h 296"/>
                  <a:gd name="T2" fmla="*/ 252 w 297"/>
                  <a:gd name="T3" fmla="*/ 86 h 296"/>
                  <a:gd name="T4" fmla="*/ 256 w 297"/>
                  <a:gd name="T5" fmla="*/ 95 h 296"/>
                  <a:gd name="T6" fmla="*/ 265 w 297"/>
                  <a:gd name="T7" fmla="*/ 108 h 296"/>
                  <a:gd name="T8" fmla="*/ 267 w 297"/>
                  <a:gd name="T9" fmla="*/ 121 h 296"/>
                  <a:gd name="T10" fmla="*/ 261 w 297"/>
                  <a:gd name="T11" fmla="*/ 141 h 296"/>
                  <a:gd name="T12" fmla="*/ 242 w 297"/>
                  <a:gd name="T13" fmla="*/ 167 h 296"/>
                  <a:gd name="T14" fmla="*/ 221 w 297"/>
                  <a:gd name="T15" fmla="*/ 182 h 296"/>
                  <a:gd name="T16" fmla="*/ 158 w 297"/>
                  <a:gd name="T17" fmla="*/ 214 h 296"/>
                  <a:gd name="T18" fmla="*/ 67 w 297"/>
                  <a:gd name="T19" fmla="*/ 248 h 296"/>
                  <a:gd name="T20" fmla="*/ 60 w 297"/>
                  <a:gd name="T21" fmla="*/ 202 h 296"/>
                  <a:gd name="T22" fmla="*/ 98 w 297"/>
                  <a:gd name="T23" fmla="*/ 113 h 296"/>
                  <a:gd name="T24" fmla="*/ 120 w 297"/>
                  <a:gd name="T25" fmla="*/ 68 h 296"/>
                  <a:gd name="T26" fmla="*/ 138 w 297"/>
                  <a:gd name="T27" fmla="*/ 48 h 296"/>
                  <a:gd name="T28" fmla="*/ 166 w 297"/>
                  <a:gd name="T29" fmla="*/ 33 h 296"/>
                  <a:gd name="T30" fmla="*/ 180 w 297"/>
                  <a:gd name="T31" fmla="*/ 30 h 296"/>
                  <a:gd name="T32" fmla="*/ 194 w 297"/>
                  <a:gd name="T33" fmla="*/ 35 h 296"/>
                  <a:gd name="T34" fmla="*/ 205 w 297"/>
                  <a:gd name="T35" fmla="*/ 44 h 296"/>
                  <a:gd name="T36" fmla="*/ 213 w 297"/>
                  <a:gd name="T37" fmla="*/ 47 h 296"/>
                  <a:gd name="T38" fmla="*/ 222 w 297"/>
                  <a:gd name="T39" fmla="*/ 44 h 296"/>
                  <a:gd name="T40" fmla="*/ 227 w 297"/>
                  <a:gd name="T41" fmla="*/ 37 h 296"/>
                  <a:gd name="T42" fmla="*/ 228 w 297"/>
                  <a:gd name="T43" fmla="*/ 28 h 296"/>
                  <a:gd name="T44" fmla="*/ 224 w 297"/>
                  <a:gd name="T45" fmla="*/ 21 h 296"/>
                  <a:gd name="T46" fmla="*/ 206 w 297"/>
                  <a:gd name="T47" fmla="*/ 7 h 296"/>
                  <a:gd name="T48" fmla="*/ 184 w 297"/>
                  <a:gd name="T49" fmla="*/ 2 h 296"/>
                  <a:gd name="T50" fmla="*/ 162 w 297"/>
                  <a:gd name="T51" fmla="*/ 3 h 296"/>
                  <a:gd name="T52" fmla="*/ 139 w 297"/>
                  <a:gd name="T53" fmla="*/ 11 h 296"/>
                  <a:gd name="T54" fmla="*/ 117 w 297"/>
                  <a:gd name="T55" fmla="*/ 27 h 296"/>
                  <a:gd name="T56" fmla="*/ 94 w 297"/>
                  <a:gd name="T57" fmla="*/ 55 h 296"/>
                  <a:gd name="T58" fmla="*/ 60 w 297"/>
                  <a:gd name="T59" fmla="*/ 123 h 296"/>
                  <a:gd name="T60" fmla="*/ 16 w 297"/>
                  <a:gd name="T61" fmla="*/ 235 h 296"/>
                  <a:gd name="T62" fmla="*/ 0 w 297"/>
                  <a:gd name="T63" fmla="*/ 281 h 296"/>
                  <a:gd name="T64" fmla="*/ 4 w 297"/>
                  <a:gd name="T65" fmla="*/ 292 h 296"/>
                  <a:gd name="T66" fmla="*/ 13 w 297"/>
                  <a:gd name="T67" fmla="*/ 296 h 296"/>
                  <a:gd name="T68" fmla="*/ 21 w 297"/>
                  <a:gd name="T69" fmla="*/ 296 h 296"/>
                  <a:gd name="T70" fmla="*/ 97 w 297"/>
                  <a:gd name="T71" fmla="*/ 269 h 296"/>
                  <a:gd name="T72" fmla="*/ 212 w 297"/>
                  <a:gd name="T73" fmla="*/ 220 h 296"/>
                  <a:gd name="T74" fmla="*/ 255 w 297"/>
                  <a:gd name="T75" fmla="*/ 196 h 296"/>
                  <a:gd name="T76" fmla="*/ 276 w 297"/>
                  <a:gd name="T77" fmla="*/ 174 h 296"/>
                  <a:gd name="T78" fmla="*/ 290 w 297"/>
                  <a:gd name="T79" fmla="*/ 150 h 296"/>
                  <a:gd name="T80" fmla="*/ 297 w 297"/>
                  <a:gd name="T81" fmla="*/ 128 h 296"/>
                  <a:gd name="T82" fmla="*/ 296 w 297"/>
                  <a:gd name="T83" fmla="*/ 105 h 296"/>
                  <a:gd name="T84" fmla="*/ 287 w 297"/>
                  <a:gd name="T85" fmla="*/ 85 h 296"/>
                  <a:gd name="T86" fmla="*/ 275 w 297"/>
                  <a:gd name="T87" fmla="*/ 71 h 296"/>
                  <a:gd name="T88" fmla="*/ 267 w 297"/>
                  <a:gd name="T89" fmla="*/ 69 h 296"/>
                  <a:gd name="T90" fmla="*/ 258 w 297"/>
                  <a:gd name="T91" fmla="*/ 7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7" h="296">
                    <a:moveTo>
                      <a:pt x="256" y="73"/>
                    </a:moveTo>
                    <a:lnTo>
                      <a:pt x="254" y="75"/>
                    </a:lnTo>
                    <a:lnTo>
                      <a:pt x="253" y="79"/>
                    </a:lnTo>
                    <a:lnTo>
                      <a:pt x="252" y="81"/>
                    </a:lnTo>
                    <a:lnTo>
                      <a:pt x="252" y="84"/>
                    </a:lnTo>
                    <a:lnTo>
                      <a:pt x="252" y="86"/>
                    </a:lnTo>
                    <a:lnTo>
                      <a:pt x="253" y="89"/>
                    </a:lnTo>
                    <a:lnTo>
                      <a:pt x="254" y="91"/>
                    </a:lnTo>
                    <a:lnTo>
                      <a:pt x="256" y="95"/>
                    </a:lnTo>
                    <a:lnTo>
                      <a:pt x="259" y="99"/>
                    </a:lnTo>
                    <a:lnTo>
                      <a:pt x="263" y="103"/>
                    </a:lnTo>
                    <a:lnTo>
                      <a:pt x="265" y="108"/>
                    </a:lnTo>
                    <a:lnTo>
                      <a:pt x="266" y="112"/>
                    </a:lnTo>
                    <a:lnTo>
                      <a:pt x="267" y="117"/>
                    </a:lnTo>
                    <a:lnTo>
                      <a:pt x="267" y="121"/>
                    </a:lnTo>
                    <a:lnTo>
                      <a:pt x="267" y="127"/>
                    </a:lnTo>
                    <a:lnTo>
                      <a:pt x="266" y="131"/>
                    </a:lnTo>
                    <a:lnTo>
                      <a:pt x="261" y="141"/>
                    </a:lnTo>
                    <a:lnTo>
                      <a:pt x="256" y="150"/>
                    </a:lnTo>
                    <a:lnTo>
                      <a:pt x="250" y="159"/>
                    </a:lnTo>
                    <a:lnTo>
                      <a:pt x="242" y="167"/>
                    </a:lnTo>
                    <a:lnTo>
                      <a:pt x="237" y="173"/>
                    </a:lnTo>
                    <a:lnTo>
                      <a:pt x="229" y="177"/>
                    </a:lnTo>
                    <a:lnTo>
                      <a:pt x="221" y="182"/>
                    </a:lnTo>
                    <a:lnTo>
                      <a:pt x="210" y="189"/>
                    </a:lnTo>
                    <a:lnTo>
                      <a:pt x="185" y="201"/>
                    </a:lnTo>
                    <a:lnTo>
                      <a:pt x="158" y="214"/>
                    </a:lnTo>
                    <a:lnTo>
                      <a:pt x="127" y="225"/>
                    </a:lnTo>
                    <a:lnTo>
                      <a:pt x="97" y="237"/>
                    </a:lnTo>
                    <a:lnTo>
                      <a:pt x="67" y="248"/>
                    </a:lnTo>
                    <a:lnTo>
                      <a:pt x="40" y="257"/>
                    </a:lnTo>
                    <a:lnTo>
                      <a:pt x="49" y="231"/>
                    </a:lnTo>
                    <a:lnTo>
                      <a:pt x="60" y="202"/>
                    </a:lnTo>
                    <a:lnTo>
                      <a:pt x="72" y="171"/>
                    </a:lnTo>
                    <a:lnTo>
                      <a:pt x="85" y="141"/>
                    </a:lnTo>
                    <a:lnTo>
                      <a:pt x="98" y="113"/>
                    </a:lnTo>
                    <a:lnTo>
                      <a:pt x="109" y="88"/>
                    </a:lnTo>
                    <a:lnTo>
                      <a:pt x="115" y="78"/>
                    </a:lnTo>
                    <a:lnTo>
                      <a:pt x="120" y="68"/>
                    </a:lnTo>
                    <a:lnTo>
                      <a:pt x="125" y="60"/>
                    </a:lnTo>
                    <a:lnTo>
                      <a:pt x="131" y="55"/>
                    </a:lnTo>
                    <a:lnTo>
                      <a:pt x="138" y="48"/>
                    </a:lnTo>
                    <a:lnTo>
                      <a:pt x="147" y="41"/>
                    </a:lnTo>
                    <a:lnTo>
                      <a:pt x="157" y="36"/>
                    </a:lnTo>
                    <a:lnTo>
                      <a:pt x="166" y="33"/>
                    </a:lnTo>
                    <a:lnTo>
                      <a:pt x="172" y="32"/>
                    </a:lnTo>
                    <a:lnTo>
                      <a:pt x="176" y="30"/>
                    </a:lnTo>
                    <a:lnTo>
                      <a:pt x="180" y="30"/>
                    </a:lnTo>
                    <a:lnTo>
                      <a:pt x="185" y="32"/>
                    </a:lnTo>
                    <a:lnTo>
                      <a:pt x="190" y="33"/>
                    </a:lnTo>
                    <a:lnTo>
                      <a:pt x="194" y="35"/>
                    </a:lnTo>
                    <a:lnTo>
                      <a:pt x="198" y="38"/>
                    </a:lnTo>
                    <a:lnTo>
                      <a:pt x="203" y="42"/>
                    </a:lnTo>
                    <a:lnTo>
                      <a:pt x="205" y="44"/>
                    </a:lnTo>
                    <a:lnTo>
                      <a:pt x="208" y="45"/>
                    </a:lnTo>
                    <a:lnTo>
                      <a:pt x="210" y="47"/>
                    </a:lnTo>
                    <a:lnTo>
                      <a:pt x="213" y="47"/>
                    </a:lnTo>
                    <a:lnTo>
                      <a:pt x="216" y="47"/>
                    </a:lnTo>
                    <a:lnTo>
                      <a:pt x="219" y="45"/>
                    </a:lnTo>
                    <a:lnTo>
                      <a:pt x="222" y="44"/>
                    </a:lnTo>
                    <a:lnTo>
                      <a:pt x="224" y="42"/>
                    </a:lnTo>
                    <a:lnTo>
                      <a:pt x="226" y="39"/>
                    </a:lnTo>
                    <a:lnTo>
                      <a:pt x="227" y="37"/>
                    </a:lnTo>
                    <a:lnTo>
                      <a:pt x="228" y="34"/>
                    </a:lnTo>
                    <a:lnTo>
                      <a:pt x="228" y="30"/>
                    </a:lnTo>
                    <a:lnTo>
                      <a:pt x="228" y="28"/>
                    </a:lnTo>
                    <a:lnTo>
                      <a:pt x="227" y="25"/>
                    </a:lnTo>
                    <a:lnTo>
                      <a:pt x="226" y="23"/>
                    </a:lnTo>
                    <a:lnTo>
                      <a:pt x="224" y="21"/>
                    </a:lnTo>
                    <a:lnTo>
                      <a:pt x="218" y="15"/>
                    </a:lnTo>
                    <a:lnTo>
                      <a:pt x="212" y="11"/>
                    </a:lnTo>
                    <a:lnTo>
                      <a:pt x="206" y="7"/>
                    </a:lnTo>
                    <a:lnTo>
                      <a:pt x="198" y="5"/>
                    </a:lnTo>
                    <a:lnTo>
                      <a:pt x="192" y="3"/>
                    </a:lnTo>
                    <a:lnTo>
                      <a:pt x="184" y="2"/>
                    </a:lnTo>
                    <a:lnTo>
                      <a:pt x="177" y="0"/>
                    </a:lnTo>
                    <a:lnTo>
                      <a:pt x="169" y="2"/>
                    </a:lnTo>
                    <a:lnTo>
                      <a:pt x="162" y="3"/>
                    </a:lnTo>
                    <a:lnTo>
                      <a:pt x="154" y="5"/>
                    </a:lnTo>
                    <a:lnTo>
                      <a:pt x="147" y="8"/>
                    </a:lnTo>
                    <a:lnTo>
                      <a:pt x="139" y="11"/>
                    </a:lnTo>
                    <a:lnTo>
                      <a:pt x="132" y="17"/>
                    </a:lnTo>
                    <a:lnTo>
                      <a:pt x="124" y="22"/>
                    </a:lnTo>
                    <a:lnTo>
                      <a:pt x="117" y="27"/>
                    </a:lnTo>
                    <a:lnTo>
                      <a:pt x="109" y="35"/>
                    </a:lnTo>
                    <a:lnTo>
                      <a:pt x="102" y="43"/>
                    </a:lnTo>
                    <a:lnTo>
                      <a:pt x="94" y="55"/>
                    </a:lnTo>
                    <a:lnTo>
                      <a:pt x="86" y="69"/>
                    </a:lnTo>
                    <a:lnTo>
                      <a:pt x="77" y="85"/>
                    </a:lnTo>
                    <a:lnTo>
                      <a:pt x="60" y="123"/>
                    </a:lnTo>
                    <a:lnTo>
                      <a:pt x="44" y="162"/>
                    </a:lnTo>
                    <a:lnTo>
                      <a:pt x="28" y="201"/>
                    </a:lnTo>
                    <a:lnTo>
                      <a:pt x="16" y="235"/>
                    </a:lnTo>
                    <a:lnTo>
                      <a:pt x="7" y="262"/>
                    </a:lnTo>
                    <a:lnTo>
                      <a:pt x="1" y="277"/>
                    </a:lnTo>
                    <a:lnTo>
                      <a:pt x="0" y="281"/>
                    </a:lnTo>
                    <a:lnTo>
                      <a:pt x="1" y="285"/>
                    </a:lnTo>
                    <a:lnTo>
                      <a:pt x="2" y="290"/>
                    </a:lnTo>
                    <a:lnTo>
                      <a:pt x="4" y="292"/>
                    </a:lnTo>
                    <a:lnTo>
                      <a:pt x="8" y="294"/>
                    </a:lnTo>
                    <a:lnTo>
                      <a:pt x="10" y="295"/>
                    </a:lnTo>
                    <a:lnTo>
                      <a:pt x="13" y="296"/>
                    </a:lnTo>
                    <a:lnTo>
                      <a:pt x="15" y="296"/>
                    </a:lnTo>
                    <a:lnTo>
                      <a:pt x="18" y="296"/>
                    </a:lnTo>
                    <a:lnTo>
                      <a:pt x="21" y="296"/>
                    </a:lnTo>
                    <a:lnTo>
                      <a:pt x="36" y="291"/>
                    </a:lnTo>
                    <a:lnTo>
                      <a:pt x="62" y="282"/>
                    </a:lnTo>
                    <a:lnTo>
                      <a:pt x="97" y="269"/>
                    </a:lnTo>
                    <a:lnTo>
                      <a:pt x="135" y="254"/>
                    </a:lnTo>
                    <a:lnTo>
                      <a:pt x="176" y="237"/>
                    </a:lnTo>
                    <a:lnTo>
                      <a:pt x="212" y="220"/>
                    </a:lnTo>
                    <a:lnTo>
                      <a:pt x="229" y="211"/>
                    </a:lnTo>
                    <a:lnTo>
                      <a:pt x="243" y="204"/>
                    </a:lnTo>
                    <a:lnTo>
                      <a:pt x="255" y="196"/>
                    </a:lnTo>
                    <a:lnTo>
                      <a:pt x="264" y="189"/>
                    </a:lnTo>
                    <a:lnTo>
                      <a:pt x="271" y="181"/>
                    </a:lnTo>
                    <a:lnTo>
                      <a:pt x="276" y="174"/>
                    </a:lnTo>
                    <a:lnTo>
                      <a:pt x="282" y="166"/>
                    </a:lnTo>
                    <a:lnTo>
                      <a:pt x="286" y="158"/>
                    </a:lnTo>
                    <a:lnTo>
                      <a:pt x="290" y="150"/>
                    </a:lnTo>
                    <a:lnTo>
                      <a:pt x="292" y="143"/>
                    </a:lnTo>
                    <a:lnTo>
                      <a:pt x="295" y="135"/>
                    </a:lnTo>
                    <a:lnTo>
                      <a:pt x="297" y="128"/>
                    </a:lnTo>
                    <a:lnTo>
                      <a:pt x="297" y="120"/>
                    </a:lnTo>
                    <a:lnTo>
                      <a:pt x="297" y="113"/>
                    </a:lnTo>
                    <a:lnTo>
                      <a:pt x="296" y="105"/>
                    </a:lnTo>
                    <a:lnTo>
                      <a:pt x="294" y="99"/>
                    </a:lnTo>
                    <a:lnTo>
                      <a:pt x="290" y="91"/>
                    </a:lnTo>
                    <a:lnTo>
                      <a:pt x="287" y="85"/>
                    </a:lnTo>
                    <a:lnTo>
                      <a:pt x="283" y="79"/>
                    </a:lnTo>
                    <a:lnTo>
                      <a:pt x="278" y="73"/>
                    </a:lnTo>
                    <a:lnTo>
                      <a:pt x="275" y="71"/>
                    </a:lnTo>
                    <a:lnTo>
                      <a:pt x="272" y="70"/>
                    </a:lnTo>
                    <a:lnTo>
                      <a:pt x="270" y="69"/>
                    </a:lnTo>
                    <a:lnTo>
                      <a:pt x="267" y="69"/>
                    </a:lnTo>
                    <a:lnTo>
                      <a:pt x="264" y="69"/>
                    </a:lnTo>
                    <a:lnTo>
                      <a:pt x="261" y="70"/>
                    </a:lnTo>
                    <a:lnTo>
                      <a:pt x="258" y="71"/>
                    </a:lnTo>
                    <a:lnTo>
                      <a:pt x="256" y="73"/>
                    </a:lnTo>
                    <a:close/>
                  </a:path>
                </a:pathLst>
              </a:custGeom>
              <a:grp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2" name="TextBox 31"/>
          <p:cNvSpPr txBox="1"/>
          <p:nvPr/>
        </p:nvSpPr>
        <p:spPr>
          <a:xfrm>
            <a:off x="363914" y="4168281"/>
            <a:ext cx="1932846" cy="923330"/>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START HERE</a:t>
            </a:r>
          </a:p>
          <a:p>
            <a:pPr algn="ctr"/>
            <a:r>
              <a:rPr lang="en-US" sz="1200" dirty="0">
                <a:solidFill>
                  <a:schemeClr val="tx1">
                    <a:lumMod val="95000"/>
                    <a:lumOff val="5000"/>
                  </a:schemeClr>
                </a:solidFill>
              </a:rPr>
              <a:t>Formerly known as Roto Seals Industries, we started with a small shop repairing worn out mechanical seals.</a:t>
            </a:r>
          </a:p>
        </p:txBody>
      </p:sp>
      <p:sp>
        <p:nvSpPr>
          <p:cNvPr id="51" name="Isosceles Triangle 50"/>
          <p:cNvSpPr/>
          <p:nvPr/>
        </p:nvSpPr>
        <p:spPr>
          <a:xfrm rot="10800000">
            <a:off x="3183939" y="5937573"/>
            <a:ext cx="230661" cy="180770"/>
          </a:xfrm>
          <a:prstGeom prst="triangle">
            <a:avLst/>
          </a:prstGeom>
          <a:solidFill>
            <a:schemeClr val="bg1"/>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p:cNvSpPr/>
          <p:nvPr/>
        </p:nvSpPr>
        <p:spPr>
          <a:xfrm rot="10800000">
            <a:off x="3258846" y="6026568"/>
            <a:ext cx="80845" cy="63359"/>
          </a:xfrm>
          <a:prstGeom prst="triangle">
            <a:avLst/>
          </a:pr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3030623" y="6177771"/>
            <a:ext cx="537293"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75000"/>
                    <a:lumOff val="25000"/>
                  </a:schemeClr>
                </a:solidFill>
              </a:rPr>
              <a:t>2002</a:t>
            </a:r>
          </a:p>
        </p:txBody>
      </p:sp>
      <p:grpSp>
        <p:nvGrpSpPr>
          <p:cNvPr id="17" name="Group 16"/>
          <p:cNvGrpSpPr/>
          <p:nvPr/>
        </p:nvGrpSpPr>
        <p:grpSpPr>
          <a:xfrm>
            <a:off x="2780455" y="2349101"/>
            <a:ext cx="1037628" cy="1037628"/>
            <a:chOff x="3463390" y="2340963"/>
            <a:chExt cx="779585" cy="779585"/>
          </a:xfrm>
        </p:grpSpPr>
        <p:sp>
          <p:nvSpPr>
            <p:cNvPr id="47" name="Diamond 46"/>
            <p:cNvSpPr/>
            <p:nvPr/>
          </p:nvSpPr>
          <p:spPr>
            <a:xfrm>
              <a:off x="3463390" y="2340963"/>
              <a:ext cx="779585" cy="779585"/>
            </a:xfrm>
            <a:prstGeom prst="diamond">
              <a:avLst/>
            </a:prstGeom>
            <a:noFill/>
            <a:ln w="127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Freeform 247"/>
            <p:cNvSpPr>
              <a:spLocks noEditPoints="1"/>
            </p:cNvSpPr>
            <p:nvPr/>
          </p:nvSpPr>
          <p:spPr bwMode="auto">
            <a:xfrm>
              <a:off x="3738088" y="2587087"/>
              <a:ext cx="230188" cy="287337"/>
            </a:xfrm>
            <a:custGeom>
              <a:avLst/>
              <a:gdLst>
                <a:gd name="T0" fmla="*/ 632 w 723"/>
                <a:gd name="T1" fmla="*/ 765 h 904"/>
                <a:gd name="T2" fmla="*/ 625 w 723"/>
                <a:gd name="T3" fmla="*/ 756 h 904"/>
                <a:gd name="T4" fmla="*/ 497 w 723"/>
                <a:gd name="T5" fmla="*/ 753 h 904"/>
                <a:gd name="T6" fmla="*/ 486 w 723"/>
                <a:gd name="T7" fmla="*/ 757 h 904"/>
                <a:gd name="T8" fmla="*/ 482 w 723"/>
                <a:gd name="T9" fmla="*/ 768 h 904"/>
                <a:gd name="T10" fmla="*/ 421 w 723"/>
                <a:gd name="T11" fmla="*/ 343 h 904"/>
                <a:gd name="T12" fmla="*/ 415 w 723"/>
                <a:gd name="T13" fmla="*/ 335 h 904"/>
                <a:gd name="T14" fmla="*/ 331 w 723"/>
                <a:gd name="T15" fmla="*/ 331 h 904"/>
                <a:gd name="T16" fmla="*/ 442 w 723"/>
                <a:gd name="T17" fmla="*/ 300 h 904"/>
                <a:gd name="T18" fmla="*/ 450 w 723"/>
                <a:gd name="T19" fmla="*/ 293 h 904"/>
                <a:gd name="T20" fmla="*/ 450 w 723"/>
                <a:gd name="T21" fmla="*/ 281 h 904"/>
                <a:gd name="T22" fmla="*/ 442 w 723"/>
                <a:gd name="T23" fmla="*/ 272 h 904"/>
                <a:gd name="T24" fmla="*/ 331 w 723"/>
                <a:gd name="T25" fmla="*/ 211 h 904"/>
                <a:gd name="T26" fmla="*/ 505 w 723"/>
                <a:gd name="T27" fmla="*/ 209 h 904"/>
                <a:gd name="T28" fmla="*/ 512 w 723"/>
                <a:gd name="T29" fmla="*/ 199 h 904"/>
                <a:gd name="T30" fmla="*/ 509 w 723"/>
                <a:gd name="T31" fmla="*/ 188 h 904"/>
                <a:gd name="T32" fmla="*/ 500 w 723"/>
                <a:gd name="T33" fmla="*/ 181 h 904"/>
                <a:gd name="T34" fmla="*/ 557 w 723"/>
                <a:gd name="T35" fmla="*/ 121 h 904"/>
                <a:gd name="T36" fmla="*/ 567 w 723"/>
                <a:gd name="T37" fmla="*/ 117 h 904"/>
                <a:gd name="T38" fmla="*/ 572 w 723"/>
                <a:gd name="T39" fmla="*/ 106 h 904"/>
                <a:gd name="T40" fmla="*/ 567 w 723"/>
                <a:gd name="T41" fmla="*/ 95 h 904"/>
                <a:gd name="T42" fmla="*/ 557 w 723"/>
                <a:gd name="T43" fmla="*/ 91 h 904"/>
                <a:gd name="T44" fmla="*/ 693 w 723"/>
                <a:gd name="T45" fmla="*/ 873 h 904"/>
                <a:gd name="T46" fmla="*/ 602 w 723"/>
                <a:gd name="T47" fmla="*/ 873 h 904"/>
                <a:gd name="T48" fmla="*/ 210 w 723"/>
                <a:gd name="T49" fmla="*/ 783 h 904"/>
                <a:gd name="T50" fmla="*/ 105 w 723"/>
                <a:gd name="T51" fmla="*/ 633 h 904"/>
                <a:gd name="T52" fmla="*/ 116 w 723"/>
                <a:gd name="T53" fmla="*/ 629 h 904"/>
                <a:gd name="T54" fmla="*/ 120 w 723"/>
                <a:gd name="T55" fmla="*/ 618 h 904"/>
                <a:gd name="T56" fmla="*/ 116 w 723"/>
                <a:gd name="T57" fmla="*/ 607 h 904"/>
                <a:gd name="T58" fmla="*/ 105 w 723"/>
                <a:gd name="T59" fmla="*/ 603 h 904"/>
                <a:gd name="T60" fmla="*/ 168 w 723"/>
                <a:gd name="T61" fmla="*/ 542 h 904"/>
                <a:gd name="T62" fmla="*/ 178 w 723"/>
                <a:gd name="T63" fmla="*/ 536 h 904"/>
                <a:gd name="T64" fmla="*/ 180 w 723"/>
                <a:gd name="T65" fmla="*/ 525 h 904"/>
                <a:gd name="T66" fmla="*/ 174 w 723"/>
                <a:gd name="T67" fmla="*/ 515 h 904"/>
                <a:gd name="T68" fmla="*/ 30 w 723"/>
                <a:gd name="T69" fmla="*/ 513 h 904"/>
                <a:gd name="T70" fmla="*/ 202 w 723"/>
                <a:gd name="T71" fmla="*/ 451 h 904"/>
                <a:gd name="T72" fmla="*/ 209 w 723"/>
                <a:gd name="T73" fmla="*/ 443 h 904"/>
                <a:gd name="T74" fmla="*/ 209 w 723"/>
                <a:gd name="T75" fmla="*/ 431 h 904"/>
                <a:gd name="T76" fmla="*/ 202 w 723"/>
                <a:gd name="T77" fmla="*/ 424 h 904"/>
                <a:gd name="T78" fmla="*/ 30 w 723"/>
                <a:gd name="T79" fmla="*/ 361 h 904"/>
                <a:gd name="T80" fmla="*/ 241 w 723"/>
                <a:gd name="T81" fmla="*/ 768 h 904"/>
                <a:gd name="T82" fmla="*/ 236 w 723"/>
                <a:gd name="T83" fmla="*/ 757 h 904"/>
                <a:gd name="T84" fmla="*/ 225 w 723"/>
                <a:gd name="T85" fmla="*/ 753 h 904"/>
                <a:gd name="T86" fmla="*/ 97 w 723"/>
                <a:gd name="T87" fmla="*/ 756 h 904"/>
                <a:gd name="T88" fmla="*/ 90 w 723"/>
                <a:gd name="T89" fmla="*/ 765 h 904"/>
                <a:gd name="T90" fmla="*/ 30 w 723"/>
                <a:gd name="T91" fmla="*/ 633 h 904"/>
                <a:gd name="T92" fmla="*/ 310 w 723"/>
                <a:gd name="T93" fmla="*/ 2 h 904"/>
                <a:gd name="T94" fmla="*/ 302 w 723"/>
                <a:gd name="T95" fmla="*/ 10 h 904"/>
                <a:gd name="T96" fmla="*/ 15 w 723"/>
                <a:gd name="T97" fmla="*/ 331 h 904"/>
                <a:gd name="T98" fmla="*/ 4 w 723"/>
                <a:gd name="T99" fmla="*/ 336 h 904"/>
                <a:gd name="T100" fmla="*/ 0 w 723"/>
                <a:gd name="T101" fmla="*/ 346 h 904"/>
                <a:gd name="T102" fmla="*/ 2 w 723"/>
                <a:gd name="T103" fmla="*/ 897 h 904"/>
                <a:gd name="T104" fmla="*/ 12 w 723"/>
                <a:gd name="T105" fmla="*/ 903 h 904"/>
                <a:gd name="T106" fmla="*/ 406 w 723"/>
                <a:gd name="T107" fmla="*/ 903 h 904"/>
                <a:gd name="T108" fmla="*/ 710 w 723"/>
                <a:gd name="T109" fmla="*/ 903 h 904"/>
                <a:gd name="T110" fmla="*/ 720 w 723"/>
                <a:gd name="T111" fmla="*/ 897 h 904"/>
                <a:gd name="T112" fmla="*/ 723 w 723"/>
                <a:gd name="T113" fmla="*/ 15 h 904"/>
                <a:gd name="T114" fmla="*/ 719 w 723"/>
                <a:gd name="T115" fmla="*/ 5 h 904"/>
                <a:gd name="T116" fmla="*/ 708 w 723"/>
                <a:gd name="T117"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3" h="904">
                  <a:moveTo>
                    <a:pt x="693" y="873"/>
                  </a:moveTo>
                  <a:lnTo>
                    <a:pt x="632" y="873"/>
                  </a:lnTo>
                  <a:lnTo>
                    <a:pt x="632" y="768"/>
                  </a:lnTo>
                  <a:lnTo>
                    <a:pt x="632" y="765"/>
                  </a:lnTo>
                  <a:lnTo>
                    <a:pt x="631" y="763"/>
                  </a:lnTo>
                  <a:lnTo>
                    <a:pt x="630" y="760"/>
                  </a:lnTo>
                  <a:lnTo>
                    <a:pt x="627" y="757"/>
                  </a:lnTo>
                  <a:lnTo>
                    <a:pt x="625" y="756"/>
                  </a:lnTo>
                  <a:lnTo>
                    <a:pt x="623" y="754"/>
                  </a:lnTo>
                  <a:lnTo>
                    <a:pt x="620" y="754"/>
                  </a:lnTo>
                  <a:lnTo>
                    <a:pt x="617" y="753"/>
                  </a:lnTo>
                  <a:lnTo>
                    <a:pt x="497" y="753"/>
                  </a:lnTo>
                  <a:lnTo>
                    <a:pt x="493" y="753"/>
                  </a:lnTo>
                  <a:lnTo>
                    <a:pt x="491" y="754"/>
                  </a:lnTo>
                  <a:lnTo>
                    <a:pt x="488" y="756"/>
                  </a:lnTo>
                  <a:lnTo>
                    <a:pt x="486" y="757"/>
                  </a:lnTo>
                  <a:lnTo>
                    <a:pt x="484" y="760"/>
                  </a:lnTo>
                  <a:lnTo>
                    <a:pt x="483" y="763"/>
                  </a:lnTo>
                  <a:lnTo>
                    <a:pt x="482" y="765"/>
                  </a:lnTo>
                  <a:lnTo>
                    <a:pt x="482" y="768"/>
                  </a:lnTo>
                  <a:lnTo>
                    <a:pt x="482" y="873"/>
                  </a:lnTo>
                  <a:lnTo>
                    <a:pt x="421" y="873"/>
                  </a:lnTo>
                  <a:lnTo>
                    <a:pt x="421" y="346"/>
                  </a:lnTo>
                  <a:lnTo>
                    <a:pt x="421" y="343"/>
                  </a:lnTo>
                  <a:lnTo>
                    <a:pt x="420" y="341"/>
                  </a:lnTo>
                  <a:lnTo>
                    <a:pt x="419" y="338"/>
                  </a:lnTo>
                  <a:lnTo>
                    <a:pt x="417" y="336"/>
                  </a:lnTo>
                  <a:lnTo>
                    <a:pt x="415" y="335"/>
                  </a:lnTo>
                  <a:lnTo>
                    <a:pt x="412" y="333"/>
                  </a:lnTo>
                  <a:lnTo>
                    <a:pt x="410" y="333"/>
                  </a:lnTo>
                  <a:lnTo>
                    <a:pt x="406" y="331"/>
                  </a:lnTo>
                  <a:lnTo>
                    <a:pt x="331" y="331"/>
                  </a:lnTo>
                  <a:lnTo>
                    <a:pt x="331" y="301"/>
                  </a:lnTo>
                  <a:lnTo>
                    <a:pt x="436" y="301"/>
                  </a:lnTo>
                  <a:lnTo>
                    <a:pt x="440" y="301"/>
                  </a:lnTo>
                  <a:lnTo>
                    <a:pt x="442" y="300"/>
                  </a:lnTo>
                  <a:lnTo>
                    <a:pt x="445" y="299"/>
                  </a:lnTo>
                  <a:lnTo>
                    <a:pt x="447" y="297"/>
                  </a:lnTo>
                  <a:lnTo>
                    <a:pt x="449" y="295"/>
                  </a:lnTo>
                  <a:lnTo>
                    <a:pt x="450" y="293"/>
                  </a:lnTo>
                  <a:lnTo>
                    <a:pt x="452" y="290"/>
                  </a:lnTo>
                  <a:lnTo>
                    <a:pt x="452" y="286"/>
                  </a:lnTo>
                  <a:lnTo>
                    <a:pt x="452" y="283"/>
                  </a:lnTo>
                  <a:lnTo>
                    <a:pt x="450" y="281"/>
                  </a:lnTo>
                  <a:lnTo>
                    <a:pt x="449" y="278"/>
                  </a:lnTo>
                  <a:lnTo>
                    <a:pt x="447" y="276"/>
                  </a:lnTo>
                  <a:lnTo>
                    <a:pt x="445" y="275"/>
                  </a:lnTo>
                  <a:lnTo>
                    <a:pt x="442" y="272"/>
                  </a:lnTo>
                  <a:lnTo>
                    <a:pt x="440" y="271"/>
                  </a:lnTo>
                  <a:lnTo>
                    <a:pt x="436" y="271"/>
                  </a:lnTo>
                  <a:lnTo>
                    <a:pt x="331" y="271"/>
                  </a:lnTo>
                  <a:lnTo>
                    <a:pt x="331" y="211"/>
                  </a:lnTo>
                  <a:lnTo>
                    <a:pt x="497" y="211"/>
                  </a:lnTo>
                  <a:lnTo>
                    <a:pt x="500" y="211"/>
                  </a:lnTo>
                  <a:lnTo>
                    <a:pt x="503" y="210"/>
                  </a:lnTo>
                  <a:lnTo>
                    <a:pt x="505" y="209"/>
                  </a:lnTo>
                  <a:lnTo>
                    <a:pt x="507" y="207"/>
                  </a:lnTo>
                  <a:lnTo>
                    <a:pt x="509" y="205"/>
                  </a:lnTo>
                  <a:lnTo>
                    <a:pt x="510" y="202"/>
                  </a:lnTo>
                  <a:lnTo>
                    <a:pt x="512" y="199"/>
                  </a:lnTo>
                  <a:lnTo>
                    <a:pt x="512" y="196"/>
                  </a:lnTo>
                  <a:lnTo>
                    <a:pt x="512" y="193"/>
                  </a:lnTo>
                  <a:lnTo>
                    <a:pt x="510" y="190"/>
                  </a:lnTo>
                  <a:lnTo>
                    <a:pt x="509" y="188"/>
                  </a:lnTo>
                  <a:lnTo>
                    <a:pt x="507" y="186"/>
                  </a:lnTo>
                  <a:lnTo>
                    <a:pt x="505" y="183"/>
                  </a:lnTo>
                  <a:lnTo>
                    <a:pt x="503" y="182"/>
                  </a:lnTo>
                  <a:lnTo>
                    <a:pt x="500" y="181"/>
                  </a:lnTo>
                  <a:lnTo>
                    <a:pt x="497" y="181"/>
                  </a:lnTo>
                  <a:lnTo>
                    <a:pt x="331" y="181"/>
                  </a:lnTo>
                  <a:lnTo>
                    <a:pt x="331" y="121"/>
                  </a:lnTo>
                  <a:lnTo>
                    <a:pt x="557" y="121"/>
                  </a:lnTo>
                  <a:lnTo>
                    <a:pt x="560" y="120"/>
                  </a:lnTo>
                  <a:lnTo>
                    <a:pt x="563" y="120"/>
                  </a:lnTo>
                  <a:lnTo>
                    <a:pt x="565" y="118"/>
                  </a:lnTo>
                  <a:lnTo>
                    <a:pt x="567" y="117"/>
                  </a:lnTo>
                  <a:lnTo>
                    <a:pt x="569" y="115"/>
                  </a:lnTo>
                  <a:lnTo>
                    <a:pt x="571" y="112"/>
                  </a:lnTo>
                  <a:lnTo>
                    <a:pt x="572" y="109"/>
                  </a:lnTo>
                  <a:lnTo>
                    <a:pt x="572" y="106"/>
                  </a:lnTo>
                  <a:lnTo>
                    <a:pt x="572" y="103"/>
                  </a:lnTo>
                  <a:lnTo>
                    <a:pt x="571" y="100"/>
                  </a:lnTo>
                  <a:lnTo>
                    <a:pt x="569" y="98"/>
                  </a:lnTo>
                  <a:lnTo>
                    <a:pt x="567" y="95"/>
                  </a:lnTo>
                  <a:lnTo>
                    <a:pt x="565" y="93"/>
                  </a:lnTo>
                  <a:lnTo>
                    <a:pt x="563" y="92"/>
                  </a:lnTo>
                  <a:lnTo>
                    <a:pt x="560" y="91"/>
                  </a:lnTo>
                  <a:lnTo>
                    <a:pt x="557" y="91"/>
                  </a:lnTo>
                  <a:lnTo>
                    <a:pt x="331" y="91"/>
                  </a:lnTo>
                  <a:lnTo>
                    <a:pt x="331" y="31"/>
                  </a:lnTo>
                  <a:lnTo>
                    <a:pt x="693" y="31"/>
                  </a:lnTo>
                  <a:lnTo>
                    <a:pt x="693" y="873"/>
                  </a:lnTo>
                  <a:close/>
                  <a:moveTo>
                    <a:pt x="512" y="873"/>
                  </a:moveTo>
                  <a:lnTo>
                    <a:pt x="512" y="783"/>
                  </a:lnTo>
                  <a:lnTo>
                    <a:pt x="602" y="783"/>
                  </a:lnTo>
                  <a:lnTo>
                    <a:pt x="602" y="873"/>
                  </a:lnTo>
                  <a:lnTo>
                    <a:pt x="512" y="873"/>
                  </a:lnTo>
                  <a:close/>
                  <a:moveTo>
                    <a:pt x="120" y="873"/>
                  </a:moveTo>
                  <a:lnTo>
                    <a:pt x="120" y="783"/>
                  </a:lnTo>
                  <a:lnTo>
                    <a:pt x="210" y="783"/>
                  </a:lnTo>
                  <a:lnTo>
                    <a:pt x="210" y="873"/>
                  </a:lnTo>
                  <a:lnTo>
                    <a:pt x="120" y="873"/>
                  </a:lnTo>
                  <a:close/>
                  <a:moveTo>
                    <a:pt x="30" y="633"/>
                  </a:moveTo>
                  <a:lnTo>
                    <a:pt x="105" y="633"/>
                  </a:lnTo>
                  <a:lnTo>
                    <a:pt x="108" y="633"/>
                  </a:lnTo>
                  <a:lnTo>
                    <a:pt x="112" y="632"/>
                  </a:lnTo>
                  <a:lnTo>
                    <a:pt x="114" y="630"/>
                  </a:lnTo>
                  <a:lnTo>
                    <a:pt x="116" y="629"/>
                  </a:lnTo>
                  <a:lnTo>
                    <a:pt x="118" y="627"/>
                  </a:lnTo>
                  <a:lnTo>
                    <a:pt x="119" y="623"/>
                  </a:lnTo>
                  <a:lnTo>
                    <a:pt x="120" y="621"/>
                  </a:lnTo>
                  <a:lnTo>
                    <a:pt x="120" y="618"/>
                  </a:lnTo>
                  <a:lnTo>
                    <a:pt x="120" y="615"/>
                  </a:lnTo>
                  <a:lnTo>
                    <a:pt x="119" y="611"/>
                  </a:lnTo>
                  <a:lnTo>
                    <a:pt x="118" y="609"/>
                  </a:lnTo>
                  <a:lnTo>
                    <a:pt x="116" y="607"/>
                  </a:lnTo>
                  <a:lnTo>
                    <a:pt x="114" y="605"/>
                  </a:lnTo>
                  <a:lnTo>
                    <a:pt x="112" y="604"/>
                  </a:lnTo>
                  <a:lnTo>
                    <a:pt x="108" y="603"/>
                  </a:lnTo>
                  <a:lnTo>
                    <a:pt x="105" y="603"/>
                  </a:lnTo>
                  <a:lnTo>
                    <a:pt x="30" y="603"/>
                  </a:lnTo>
                  <a:lnTo>
                    <a:pt x="30" y="543"/>
                  </a:lnTo>
                  <a:lnTo>
                    <a:pt x="165" y="543"/>
                  </a:lnTo>
                  <a:lnTo>
                    <a:pt x="168" y="542"/>
                  </a:lnTo>
                  <a:lnTo>
                    <a:pt x="172" y="542"/>
                  </a:lnTo>
                  <a:lnTo>
                    <a:pt x="174" y="540"/>
                  </a:lnTo>
                  <a:lnTo>
                    <a:pt x="176" y="539"/>
                  </a:lnTo>
                  <a:lnTo>
                    <a:pt x="178" y="536"/>
                  </a:lnTo>
                  <a:lnTo>
                    <a:pt x="179" y="533"/>
                  </a:lnTo>
                  <a:lnTo>
                    <a:pt x="180" y="531"/>
                  </a:lnTo>
                  <a:lnTo>
                    <a:pt x="180" y="528"/>
                  </a:lnTo>
                  <a:lnTo>
                    <a:pt x="180" y="525"/>
                  </a:lnTo>
                  <a:lnTo>
                    <a:pt x="179" y="521"/>
                  </a:lnTo>
                  <a:lnTo>
                    <a:pt x="178" y="519"/>
                  </a:lnTo>
                  <a:lnTo>
                    <a:pt x="176" y="517"/>
                  </a:lnTo>
                  <a:lnTo>
                    <a:pt x="174" y="515"/>
                  </a:lnTo>
                  <a:lnTo>
                    <a:pt x="172" y="514"/>
                  </a:lnTo>
                  <a:lnTo>
                    <a:pt x="168" y="513"/>
                  </a:lnTo>
                  <a:lnTo>
                    <a:pt x="165" y="513"/>
                  </a:lnTo>
                  <a:lnTo>
                    <a:pt x="30" y="513"/>
                  </a:lnTo>
                  <a:lnTo>
                    <a:pt x="30" y="452"/>
                  </a:lnTo>
                  <a:lnTo>
                    <a:pt x="195" y="452"/>
                  </a:lnTo>
                  <a:lnTo>
                    <a:pt x="198" y="452"/>
                  </a:lnTo>
                  <a:lnTo>
                    <a:pt x="202" y="451"/>
                  </a:lnTo>
                  <a:lnTo>
                    <a:pt x="204" y="449"/>
                  </a:lnTo>
                  <a:lnTo>
                    <a:pt x="206" y="447"/>
                  </a:lnTo>
                  <a:lnTo>
                    <a:pt x="208" y="445"/>
                  </a:lnTo>
                  <a:lnTo>
                    <a:pt x="209" y="443"/>
                  </a:lnTo>
                  <a:lnTo>
                    <a:pt x="210" y="440"/>
                  </a:lnTo>
                  <a:lnTo>
                    <a:pt x="210" y="438"/>
                  </a:lnTo>
                  <a:lnTo>
                    <a:pt x="210" y="434"/>
                  </a:lnTo>
                  <a:lnTo>
                    <a:pt x="209" y="431"/>
                  </a:lnTo>
                  <a:lnTo>
                    <a:pt x="208" y="429"/>
                  </a:lnTo>
                  <a:lnTo>
                    <a:pt x="206" y="427"/>
                  </a:lnTo>
                  <a:lnTo>
                    <a:pt x="204" y="425"/>
                  </a:lnTo>
                  <a:lnTo>
                    <a:pt x="202" y="424"/>
                  </a:lnTo>
                  <a:lnTo>
                    <a:pt x="198" y="423"/>
                  </a:lnTo>
                  <a:lnTo>
                    <a:pt x="195" y="422"/>
                  </a:lnTo>
                  <a:lnTo>
                    <a:pt x="30" y="422"/>
                  </a:lnTo>
                  <a:lnTo>
                    <a:pt x="30" y="361"/>
                  </a:lnTo>
                  <a:lnTo>
                    <a:pt x="391" y="361"/>
                  </a:lnTo>
                  <a:lnTo>
                    <a:pt x="391" y="873"/>
                  </a:lnTo>
                  <a:lnTo>
                    <a:pt x="241" y="873"/>
                  </a:lnTo>
                  <a:lnTo>
                    <a:pt x="241" y="768"/>
                  </a:lnTo>
                  <a:lnTo>
                    <a:pt x="240" y="765"/>
                  </a:lnTo>
                  <a:lnTo>
                    <a:pt x="239" y="763"/>
                  </a:lnTo>
                  <a:lnTo>
                    <a:pt x="238" y="760"/>
                  </a:lnTo>
                  <a:lnTo>
                    <a:pt x="236" y="757"/>
                  </a:lnTo>
                  <a:lnTo>
                    <a:pt x="234" y="756"/>
                  </a:lnTo>
                  <a:lnTo>
                    <a:pt x="232" y="754"/>
                  </a:lnTo>
                  <a:lnTo>
                    <a:pt x="228" y="754"/>
                  </a:lnTo>
                  <a:lnTo>
                    <a:pt x="225" y="753"/>
                  </a:lnTo>
                  <a:lnTo>
                    <a:pt x="105" y="753"/>
                  </a:lnTo>
                  <a:lnTo>
                    <a:pt x="102" y="753"/>
                  </a:lnTo>
                  <a:lnTo>
                    <a:pt x="100" y="754"/>
                  </a:lnTo>
                  <a:lnTo>
                    <a:pt x="97" y="756"/>
                  </a:lnTo>
                  <a:lnTo>
                    <a:pt x="94" y="757"/>
                  </a:lnTo>
                  <a:lnTo>
                    <a:pt x="93" y="760"/>
                  </a:lnTo>
                  <a:lnTo>
                    <a:pt x="91" y="763"/>
                  </a:lnTo>
                  <a:lnTo>
                    <a:pt x="90" y="765"/>
                  </a:lnTo>
                  <a:lnTo>
                    <a:pt x="90" y="768"/>
                  </a:lnTo>
                  <a:lnTo>
                    <a:pt x="90" y="873"/>
                  </a:lnTo>
                  <a:lnTo>
                    <a:pt x="30" y="873"/>
                  </a:lnTo>
                  <a:lnTo>
                    <a:pt x="30" y="633"/>
                  </a:lnTo>
                  <a:close/>
                  <a:moveTo>
                    <a:pt x="708" y="0"/>
                  </a:moveTo>
                  <a:lnTo>
                    <a:pt x="316" y="0"/>
                  </a:lnTo>
                  <a:lnTo>
                    <a:pt x="313" y="1"/>
                  </a:lnTo>
                  <a:lnTo>
                    <a:pt x="310" y="2"/>
                  </a:lnTo>
                  <a:lnTo>
                    <a:pt x="308" y="3"/>
                  </a:lnTo>
                  <a:lnTo>
                    <a:pt x="306" y="5"/>
                  </a:lnTo>
                  <a:lnTo>
                    <a:pt x="304" y="7"/>
                  </a:lnTo>
                  <a:lnTo>
                    <a:pt x="302" y="10"/>
                  </a:lnTo>
                  <a:lnTo>
                    <a:pt x="301" y="13"/>
                  </a:lnTo>
                  <a:lnTo>
                    <a:pt x="301" y="16"/>
                  </a:lnTo>
                  <a:lnTo>
                    <a:pt x="301" y="331"/>
                  </a:lnTo>
                  <a:lnTo>
                    <a:pt x="15" y="331"/>
                  </a:lnTo>
                  <a:lnTo>
                    <a:pt x="12" y="331"/>
                  </a:lnTo>
                  <a:lnTo>
                    <a:pt x="10" y="333"/>
                  </a:lnTo>
                  <a:lnTo>
                    <a:pt x="6" y="335"/>
                  </a:lnTo>
                  <a:lnTo>
                    <a:pt x="4" y="336"/>
                  </a:lnTo>
                  <a:lnTo>
                    <a:pt x="2" y="338"/>
                  </a:lnTo>
                  <a:lnTo>
                    <a:pt x="1" y="341"/>
                  </a:lnTo>
                  <a:lnTo>
                    <a:pt x="0" y="343"/>
                  </a:lnTo>
                  <a:lnTo>
                    <a:pt x="0" y="346"/>
                  </a:lnTo>
                  <a:lnTo>
                    <a:pt x="0" y="888"/>
                  </a:lnTo>
                  <a:lnTo>
                    <a:pt x="0" y="892"/>
                  </a:lnTo>
                  <a:lnTo>
                    <a:pt x="1" y="895"/>
                  </a:lnTo>
                  <a:lnTo>
                    <a:pt x="2" y="897"/>
                  </a:lnTo>
                  <a:lnTo>
                    <a:pt x="4" y="899"/>
                  </a:lnTo>
                  <a:lnTo>
                    <a:pt x="6" y="901"/>
                  </a:lnTo>
                  <a:lnTo>
                    <a:pt x="10" y="902"/>
                  </a:lnTo>
                  <a:lnTo>
                    <a:pt x="12" y="903"/>
                  </a:lnTo>
                  <a:lnTo>
                    <a:pt x="15" y="904"/>
                  </a:lnTo>
                  <a:lnTo>
                    <a:pt x="105" y="903"/>
                  </a:lnTo>
                  <a:lnTo>
                    <a:pt x="225" y="903"/>
                  </a:lnTo>
                  <a:lnTo>
                    <a:pt x="406" y="903"/>
                  </a:lnTo>
                  <a:lnTo>
                    <a:pt x="497" y="903"/>
                  </a:lnTo>
                  <a:lnTo>
                    <a:pt x="617" y="903"/>
                  </a:lnTo>
                  <a:lnTo>
                    <a:pt x="708" y="903"/>
                  </a:lnTo>
                  <a:lnTo>
                    <a:pt x="710" y="903"/>
                  </a:lnTo>
                  <a:lnTo>
                    <a:pt x="713" y="902"/>
                  </a:lnTo>
                  <a:lnTo>
                    <a:pt x="715" y="901"/>
                  </a:lnTo>
                  <a:lnTo>
                    <a:pt x="719" y="899"/>
                  </a:lnTo>
                  <a:lnTo>
                    <a:pt x="720" y="897"/>
                  </a:lnTo>
                  <a:lnTo>
                    <a:pt x="722" y="895"/>
                  </a:lnTo>
                  <a:lnTo>
                    <a:pt x="722" y="892"/>
                  </a:lnTo>
                  <a:lnTo>
                    <a:pt x="723" y="889"/>
                  </a:lnTo>
                  <a:lnTo>
                    <a:pt x="723" y="15"/>
                  </a:lnTo>
                  <a:lnTo>
                    <a:pt x="722" y="13"/>
                  </a:lnTo>
                  <a:lnTo>
                    <a:pt x="722" y="10"/>
                  </a:lnTo>
                  <a:lnTo>
                    <a:pt x="720" y="7"/>
                  </a:lnTo>
                  <a:lnTo>
                    <a:pt x="719" y="5"/>
                  </a:lnTo>
                  <a:lnTo>
                    <a:pt x="715" y="3"/>
                  </a:lnTo>
                  <a:lnTo>
                    <a:pt x="713" y="2"/>
                  </a:lnTo>
                  <a:lnTo>
                    <a:pt x="710" y="1"/>
                  </a:lnTo>
                  <a:lnTo>
                    <a:pt x="708" y="0"/>
                  </a:lnTo>
                  <a:close/>
                </a:path>
              </a:pathLst>
            </a:custGeom>
            <a:solidFill>
              <a:srgbClr val="8AAAE5"/>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4" name="Isosceles Triangle 63"/>
          <p:cNvSpPr/>
          <p:nvPr/>
        </p:nvSpPr>
        <p:spPr>
          <a:xfrm rot="10800000">
            <a:off x="5100111" y="5937572"/>
            <a:ext cx="230661" cy="180770"/>
          </a:xfrm>
          <a:prstGeom prst="triangle">
            <a:avLst/>
          </a:prstGeom>
          <a:solidFill>
            <a:schemeClr val="bg1"/>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Isosceles Triangle 64"/>
          <p:cNvSpPr/>
          <p:nvPr/>
        </p:nvSpPr>
        <p:spPr>
          <a:xfrm rot="10800000">
            <a:off x="5175019" y="6026574"/>
            <a:ext cx="80845" cy="63359"/>
          </a:xfrm>
          <a:prstGeom prst="triangle">
            <a:avLst/>
          </a:pr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p:cNvSpPr txBox="1"/>
          <p:nvPr/>
        </p:nvSpPr>
        <p:spPr>
          <a:xfrm>
            <a:off x="4946795" y="6177771"/>
            <a:ext cx="537293"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75000"/>
                    <a:lumOff val="25000"/>
                  </a:schemeClr>
                </a:solidFill>
              </a:rPr>
              <a:t>2003</a:t>
            </a:r>
          </a:p>
        </p:txBody>
      </p:sp>
      <p:cxnSp>
        <p:nvCxnSpPr>
          <p:cNvPr id="56" name="Straight Connector 55"/>
          <p:cNvCxnSpPr/>
          <p:nvPr/>
        </p:nvCxnSpPr>
        <p:spPr>
          <a:xfrm flipV="1">
            <a:off x="5215441" y="4977183"/>
            <a:ext cx="0" cy="958008"/>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4249018" y="4168281"/>
            <a:ext cx="1932846" cy="553998"/>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CNC</a:t>
            </a:r>
          </a:p>
          <a:p>
            <a:pPr algn="ctr"/>
            <a:r>
              <a:rPr lang="en-US" sz="1200" dirty="0">
                <a:solidFill>
                  <a:schemeClr val="tx1">
                    <a:lumMod val="95000"/>
                    <a:lumOff val="5000"/>
                  </a:schemeClr>
                </a:solidFill>
              </a:rPr>
              <a:t>Added first CNC turning machine to our shop floor.</a:t>
            </a:r>
          </a:p>
        </p:txBody>
      </p:sp>
      <p:grpSp>
        <p:nvGrpSpPr>
          <p:cNvPr id="16" name="Group 15"/>
          <p:cNvGrpSpPr/>
          <p:nvPr/>
        </p:nvGrpSpPr>
        <p:grpSpPr>
          <a:xfrm>
            <a:off x="4696627" y="2713696"/>
            <a:ext cx="1037628" cy="1037628"/>
            <a:chOff x="5713672" y="2842718"/>
            <a:chExt cx="779585" cy="779585"/>
          </a:xfrm>
        </p:grpSpPr>
        <p:sp>
          <p:nvSpPr>
            <p:cNvPr id="60" name="Diamond 59"/>
            <p:cNvSpPr/>
            <p:nvPr/>
          </p:nvSpPr>
          <p:spPr>
            <a:xfrm>
              <a:off x="5713672" y="2842718"/>
              <a:ext cx="779585" cy="779585"/>
            </a:xfrm>
            <a:prstGeom prst="diamond">
              <a:avLst/>
            </a:prstGeom>
            <a:noFill/>
            <a:ln w="127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4" name="Group 123"/>
            <p:cNvGrpSpPr>
              <a:grpSpLocks noChangeAspect="1"/>
            </p:cNvGrpSpPr>
            <p:nvPr/>
          </p:nvGrpSpPr>
          <p:grpSpPr>
            <a:xfrm>
              <a:off x="5959464" y="3088510"/>
              <a:ext cx="288001" cy="288000"/>
              <a:chOff x="11033125" y="1349375"/>
              <a:chExt cx="284163" cy="284162"/>
            </a:xfrm>
          </p:grpSpPr>
          <p:sp>
            <p:nvSpPr>
              <p:cNvPr id="125" name="Freeform 331"/>
              <p:cNvSpPr>
                <a:spLocks noEditPoints="1"/>
              </p:cNvSpPr>
              <p:nvPr/>
            </p:nvSpPr>
            <p:spPr bwMode="auto">
              <a:xfrm>
                <a:off x="11133138" y="1385888"/>
                <a:ext cx="84138" cy="77787"/>
              </a:xfrm>
              <a:custGeom>
                <a:avLst/>
                <a:gdLst>
                  <a:gd name="T0" fmla="*/ 167 w 268"/>
                  <a:gd name="T1" fmla="*/ 133 h 246"/>
                  <a:gd name="T2" fmla="*/ 164 w 268"/>
                  <a:gd name="T3" fmla="*/ 142 h 246"/>
                  <a:gd name="T4" fmla="*/ 178 w 268"/>
                  <a:gd name="T5" fmla="*/ 188 h 246"/>
                  <a:gd name="T6" fmla="*/ 139 w 268"/>
                  <a:gd name="T7" fmla="*/ 157 h 246"/>
                  <a:gd name="T8" fmla="*/ 129 w 268"/>
                  <a:gd name="T9" fmla="*/ 157 h 246"/>
                  <a:gd name="T10" fmla="*/ 90 w 268"/>
                  <a:gd name="T11" fmla="*/ 188 h 246"/>
                  <a:gd name="T12" fmla="*/ 105 w 268"/>
                  <a:gd name="T13" fmla="*/ 142 h 246"/>
                  <a:gd name="T14" fmla="*/ 101 w 268"/>
                  <a:gd name="T15" fmla="*/ 133 h 246"/>
                  <a:gd name="T16" fmla="*/ 58 w 268"/>
                  <a:gd name="T17" fmla="*/ 97 h 246"/>
                  <a:gd name="T18" fmla="*/ 109 w 268"/>
                  <a:gd name="T19" fmla="*/ 96 h 246"/>
                  <a:gd name="T20" fmla="*/ 115 w 268"/>
                  <a:gd name="T21" fmla="*/ 91 h 246"/>
                  <a:gd name="T22" fmla="*/ 133 w 268"/>
                  <a:gd name="T23" fmla="*/ 52 h 246"/>
                  <a:gd name="T24" fmla="*/ 153 w 268"/>
                  <a:gd name="T25" fmla="*/ 91 h 246"/>
                  <a:gd name="T26" fmla="*/ 160 w 268"/>
                  <a:gd name="T27" fmla="*/ 96 h 246"/>
                  <a:gd name="T28" fmla="*/ 212 w 268"/>
                  <a:gd name="T29" fmla="*/ 97 h 246"/>
                  <a:gd name="T30" fmla="*/ 254 w 268"/>
                  <a:gd name="T31" fmla="*/ 67 h 246"/>
                  <a:gd name="T32" fmla="*/ 146 w 268"/>
                  <a:gd name="T33" fmla="*/ 9 h 246"/>
                  <a:gd name="T34" fmla="*/ 141 w 268"/>
                  <a:gd name="T35" fmla="*/ 3 h 246"/>
                  <a:gd name="T36" fmla="*/ 132 w 268"/>
                  <a:gd name="T37" fmla="*/ 0 h 246"/>
                  <a:gd name="T38" fmla="*/ 125 w 268"/>
                  <a:gd name="T39" fmla="*/ 3 h 246"/>
                  <a:gd name="T40" fmla="*/ 120 w 268"/>
                  <a:gd name="T41" fmla="*/ 9 h 246"/>
                  <a:gd name="T42" fmla="*/ 15 w 268"/>
                  <a:gd name="T43" fmla="*/ 67 h 246"/>
                  <a:gd name="T44" fmla="*/ 6 w 268"/>
                  <a:gd name="T45" fmla="*/ 69 h 246"/>
                  <a:gd name="T46" fmla="*/ 1 w 268"/>
                  <a:gd name="T47" fmla="*/ 76 h 246"/>
                  <a:gd name="T48" fmla="*/ 0 w 268"/>
                  <a:gd name="T49" fmla="*/ 86 h 246"/>
                  <a:gd name="T50" fmla="*/ 5 w 268"/>
                  <a:gd name="T51" fmla="*/ 93 h 246"/>
                  <a:gd name="T52" fmla="*/ 46 w 268"/>
                  <a:gd name="T53" fmla="*/ 226 h 246"/>
                  <a:gd name="T54" fmla="*/ 46 w 268"/>
                  <a:gd name="T55" fmla="*/ 236 h 246"/>
                  <a:gd name="T56" fmla="*/ 51 w 268"/>
                  <a:gd name="T57" fmla="*/ 243 h 246"/>
                  <a:gd name="T58" fmla="*/ 60 w 268"/>
                  <a:gd name="T59" fmla="*/ 246 h 246"/>
                  <a:gd name="T60" fmla="*/ 69 w 268"/>
                  <a:gd name="T61" fmla="*/ 242 h 246"/>
                  <a:gd name="T62" fmla="*/ 200 w 268"/>
                  <a:gd name="T63" fmla="*/ 242 h 246"/>
                  <a:gd name="T64" fmla="*/ 209 w 268"/>
                  <a:gd name="T65" fmla="*/ 246 h 246"/>
                  <a:gd name="T66" fmla="*/ 218 w 268"/>
                  <a:gd name="T67" fmla="*/ 243 h 246"/>
                  <a:gd name="T68" fmla="*/ 223 w 268"/>
                  <a:gd name="T69" fmla="*/ 236 h 246"/>
                  <a:gd name="T70" fmla="*/ 223 w 268"/>
                  <a:gd name="T71" fmla="*/ 226 h 246"/>
                  <a:gd name="T72" fmla="*/ 263 w 268"/>
                  <a:gd name="T73" fmla="*/ 93 h 246"/>
                  <a:gd name="T74" fmla="*/ 268 w 268"/>
                  <a:gd name="T75" fmla="*/ 86 h 246"/>
                  <a:gd name="T76" fmla="*/ 268 w 268"/>
                  <a:gd name="T77" fmla="*/ 76 h 246"/>
                  <a:gd name="T78" fmla="*/ 263 w 268"/>
                  <a:gd name="T79" fmla="*/ 69 h 246"/>
                  <a:gd name="T80" fmla="*/ 254 w 268"/>
                  <a:gd name="T81" fmla="*/ 6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8" h="246">
                    <a:moveTo>
                      <a:pt x="170" y="130"/>
                    </a:moveTo>
                    <a:lnTo>
                      <a:pt x="167" y="133"/>
                    </a:lnTo>
                    <a:lnTo>
                      <a:pt x="164" y="137"/>
                    </a:lnTo>
                    <a:lnTo>
                      <a:pt x="164" y="142"/>
                    </a:lnTo>
                    <a:lnTo>
                      <a:pt x="164" y="146"/>
                    </a:lnTo>
                    <a:lnTo>
                      <a:pt x="178" y="188"/>
                    </a:lnTo>
                    <a:lnTo>
                      <a:pt x="143" y="160"/>
                    </a:lnTo>
                    <a:lnTo>
                      <a:pt x="139" y="157"/>
                    </a:lnTo>
                    <a:lnTo>
                      <a:pt x="135" y="157"/>
                    </a:lnTo>
                    <a:lnTo>
                      <a:pt x="129" y="157"/>
                    </a:lnTo>
                    <a:lnTo>
                      <a:pt x="125" y="160"/>
                    </a:lnTo>
                    <a:lnTo>
                      <a:pt x="90" y="188"/>
                    </a:lnTo>
                    <a:lnTo>
                      <a:pt x="104" y="146"/>
                    </a:lnTo>
                    <a:lnTo>
                      <a:pt x="105" y="142"/>
                    </a:lnTo>
                    <a:lnTo>
                      <a:pt x="104" y="137"/>
                    </a:lnTo>
                    <a:lnTo>
                      <a:pt x="101" y="133"/>
                    </a:lnTo>
                    <a:lnTo>
                      <a:pt x="98" y="130"/>
                    </a:lnTo>
                    <a:lnTo>
                      <a:pt x="58" y="97"/>
                    </a:lnTo>
                    <a:lnTo>
                      <a:pt x="105" y="97"/>
                    </a:lnTo>
                    <a:lnTo>
                      <a:pt x="109" y="96"/>
                    </a:lnTo>
                    <a:lnTo>
                      <a:pt x="112" y="93"/>
                    </a:lnTo>
                    <a:lnTo>
                      <a:pt x="115" y="91"/>
                    </a:lnTo>
                    <a:lnTo>
                      <a:pt x="118" y="87"/>
                    </a:lnTo>
                    <a:lnTo>
                      <a:pt x="133" y="52"/>
                    </a:lnTo>
                    <a:lnTo>
                      <a:pt x="151" y="88"/>
                    </a:lnTo>
                    <a:lnTo>
                      <a:pt x="153" y="91"/>
                    </a:lnTo>
                    <a:lnTo>
                      <a:pt x="156" y="94"/>
                    </a:lnTo>
                    <a:lnTo>
                      <a:pt x="160" y="96"/>
                    </a:lnTo>
                    <a:lnTo>
                      <a:pt x="164" y="97"/>
                    </a:lnTo>
                    <a:lnTo>
                      <a:pt x="212" y="97"/>
                    </a:lnTo>
                    <a:lnTo>
                      <a:pt x="170" y="130"/>
                    </a:lnTo>
                    <a:close/>
                    <a:moveTo>
                      <a:pt x="254" y="67"/>
                    </a:moveTo>
                    <a:lnTo>
                      <a:pt x="174" y="67"/>
                    </a:lnTo>
                    <a:lnTo>
                      <a:pt x="146" y="9"/>
                    </a:lnTo>
                    <a:lnTo>
                      <a:pt x="144" y="5"/>
                    </a:lnTo>
                    <a:lnTo>
                      <a:pt x="141" y="3"/>
                    </a:lnTo>
                    <a:lnTo>
                      <a:pt x="138" y="0"/>
                    </a:lnTo>
                    <a:lnTo>
                      <a:pt x="132" y="0"/>
                    </a:lnTo>
                    <a:lnTo>
                      <a:pt x="129" y="0"/>
                    </a:lnTo>
                    <a:lnTo>
                      <a:pt x="125" y="3"/>
                    </a:lnTo>
                    <a:lnTo>
                      <a:pt x="122" y="6"/>
                    </a:lnTo>
                    <a:lnTo>
                      <a:pt x="120" y="9"/>
                    </a:lnTo>
                    <a:lnTo>
                      <a:pt x="95" y="67"/>
                    </a:lnTo>
                    <a:lnTo>
                      <a:pt x="15" y="67"/>
                    </a:lnTo>
                    <a:lnTo>
                      <a:pt x="10" y="67"/>
                    </a:lnTo>
                    <a:lnTo>
                      <a:pt x="6" y="69"/>
                    </a:lnTo>
                    <a:lnTo>
                      <a:pt x="3" y="72"/>
                    </a:lnTo>
                    <a:lnTo>
                      <a:pt x="1" y="76"/>
                    </a:lnTo>
                    <a:lnTo>
                      <a:pt x="0" y="81"/>
                    </a:lnTo>
                    <a:lnTo>
                      <a:pt x="0" y="86"/>
                    </a:lnTo>
                    <a:lnTo>
                      <a:pt x="2" y="89"/>
                    </a:lnTo>
                    <a:lnTo>
                      <a:pt x="5" y="93"/>
                    </a:lnTo>
                    <a:lnTo>
                      <a:pt x="71" y="146"/>
                    </a:lnTo>
                    <a:lnTo>
                      <a:pt x="46" y="226"/>
                    </a:lnTo>
                    <a:lnTo>
                      <a:pt x="45" y="231"/>
                    </a:lnTo>
                    <a:lnTo>
                      <a:pt x="46" y="236"/>
                    </a:lnTo>
                    <a:lnTo>
                      <a:pt x="48" y="240"/>
                    </a:lnTo>
                    <a:lnTo>
                      <a:pt x="51" y="243"/>
                    </a:lnTo>
                    <a:lnTo>
                      <a:pt x="55" y="245"/>
                    </a:lnTo>
                    <a:lnTo>
                      <a:pt x="60" y="246"/>
                    </a:lnTo>
                    <a:lnTo>
                      <a:pt x="65" y="245"/>
                    </a:lnTo>
                    <a:lnTo>
                      <a:pt x="69" y="242"/>
                    </a:lnTo>
                    <a:lnTo>
                      <a:pt x="135" y="190"/>
                    </a:lnTo>
                    <a:lnTo>
                      <a:pt x="200" y="242"/>
                    </a:lnTo>
                    <a:lnTo>
                      <a:pt x="204" y="245"/>
                    </a:lnTo>
                    <a:lnTo>
                      <a:pt x="209" y="246"/>
                    </a:lnTo>
                    <a:lnTo>
                      <a:pt x="214" y="245"/>
                    </a:lnTo>
                    <a:lnTo>
                      <a:pt x="218" y="243"/>
                    </a:lnTo>
                    <a:lnTo>
                      <a:pt x="221" y="240"/>
                    </a:lnTo>
                    <a:lnTo>
                      <a:pt x="223" y="236"/>
                    </a:lnTo>
                    <a:lnTo>
                      <a:pt x="224" y="231"/>
                    </a:lnTo>
                    <a:lnTo>
                      <a:pt x="223" y="226"/>
                    </a:lnTo>
                    <a:lnTo>
                      <a:pt x="197" y="146"/>
                    </a:lnTo>
                    <a:lnTo>
                      <a:pt x="263" y="93"/>
                    </a:lnTo>
                    <a:lnTo>
                      <a:pt x="266" y="89"/>
                    </a:lnTo>
                    <a:lnTo>
                      <a:pt x="268" y="86"/>
                    </a:lnTo>
                    <a:lnTo>
                      <a:pt x="268" y="81"/>
                    </a:lnTo>
                    <a:lnTo>
                      <a:pt x="268" y="76"/>
                    </a:lnTo>
                    <a:lnTo>
                      <a:pt x="266" y="72"/>
                    </a:lnTo>
                    <a:lnTo>
                      <a:pt x="263" y="69"/>
                    </a:lnTo>
                    <a:lnTo>
                      <a:pt x="259" y="67"/>
                    </a:lnTo>
                    <a:lnTo>
                      <a:pt x="254" y="67"/>
                    </a:lnTo>
                    <a:lnTo>
                      <a:pt x="254" y="67"/>
                    </a:lnTo>
                    <a:close/>
                  </a:path>
                </a:pathLst>
              </a:custGeom>
              <a:gradFill>
                <a:gsLst>
                  <a:gs pos="1000">
                    <a:schemeClr val="tx2">
                      <a:alpha val="85000"/>
                    </a:schemeClr>
                  </a:gs>
                  <a:gs pos="100000">
                    <a:schemeClr val="bg2">
                      <a:alpha val="85000"/>
                    </a:schemeClr>
                  </a:gs>
                </a:gsLst>
                <a:lin ang="2700000" scaled="0"/>
              </a:gra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332"/>
              <p:cNvSpPr>
                <a:spLocks noEditPoints="1"/>
              </p:cNvSpPr>
              <p:nvPr/>
            </p:nvSpPr>
            <p:spPr bwMode="auto">
              <a:xfrm>
                <a:off x="11033125" y="1349375"/>
                <a:ext cx="284163" cy="284162"/>
              </a:xfrm>
              <a:custGeom>
                <a:avLst/>
                <a:gdLst>
                  <a:gd name="T0" fmla="*/ 794 w 898"/>
                  <a:gd name="T1" fmla="*/ 181 h 897"/>
                  <a:gd name="T2" fmla="*/ 861 w 898"/>
                  <a:gd name="T3" fmla="*/ 209 h 897"/>
                  <a:gd name="T4" fmla="*/ 817 w 898"/>
                  <a:gd name="T5" fmla="*/ 324 h 897"/>
                  <a:gd name="T6" fmla="*/ 756 w 898"/>
                  <a:gd name="T7" fmla="*/ 367 h 897"/>
                  <a:gd name="T8" fmla="*/ 527 w 898"/>
                  <a:gd name="T9" fmla="*/ 521 h 897"/>
                  <a:gd name="T10" fmla="*/ 479 w 898"/>
                  <a:gd name="T11" fmla="*/ 583 h 897"/>
                  <a:gd name="T12" fmla="*/ 476 w 898"/>
                  <a:gd name="T13" fmla="*/ 697 h 897"/>
                  <a:gd name="T14" fmla="*/ 533 w 898"/>
                  <a:gd name="T15" fmla="*/ 793 h 897"/>
                  <a:gd name="T16" fmla="*/ 628 w 898"/>
                  <a:gd name="T17" fmla="*/ 867 h 897"/>
                  <a:gd name="T18" fmla="*/ 354 w 898"/>
                  <a:gd name="T19" fmla="*/ 803 h 897"/>
                  <a:gd name="T20" fmla="*/ 415 w 898"/>
                  <a:gd name="T21" fmla="*/ 720 h 897"/>
                  <a:gd name="T22" fmla="*/ 421 w 898"/>
                  <a:gd name="T23" fmla="*/ 595 h 897"/>
                  <a:gd name="T24" fmla="*/ 379 w 898"/>
                  <a:gd name="T25" fmla="*/ 528 h 897"/>
                  <a:gd name="T26" fmla="*/ 275 w 898"/>
                  <a:gd name="T27" fmla="*/ 460 h 897"/>
                  <a:gd name="T28" fmla="*/ 195 w 898"/>
                  <a:gd name="T29" fmla="*/ 371 h 897"/>
                  <a:gd name="T30" fmla="*/ 151 w 898"/>
                  <a:gd name="T31" fmla="*/ 260 h 897"/>
                  <a:gd name="T32" fmla="*/ 127 w 898"/>
                  <a:gd name="T33" fmla="*/ 91 h 897"/>
                  <a:gd name="T34" fmla="*/ 767 w 898"/>
                  <a:gd name="T35" fmla="*/ 145 h 897"/>
                  <a:gd name="T36" fmla="*/ 737 w 898"/>
                  <a:gd name="T37" fmla="*/ 296 h 897"/>
                  <a:gd name="T38" fmla="*/ 688 w 898"/>
                  <a:gd name="T39" fmla="*/ 393 h 897"/>
                  <a:gd name="T40" fmla="*/ 590 w 898"/>
                  <a:gd name="T41" fmla="*/ 480 h 897"/>
                  <a:gd name="T42" fmla="*/ 54 w 898"/>
                  <a:gd name="T43" fmla="*/ 280 h 897"/>
                  <a:gd name="T44" fmla="*/ 30 w 898"/>
                  <a:gd name="T45" fmla="*/ 116 h 897"/>
                  <a:gd name="T46" fmla="*/ 112 w 898"/>
                  <a:gd name="T47" fmla="*/ 221 h 897"/>
                  <a:gd name="T48" fmla="*/ 140 w 898"/>
                  <a:gd name="T49" fmla="*/ 367 h 897"/>
                  <a:gd name="T50" fmla="*/ 89 w 898"/>
                  <a:gd name="T51" fmla="*/ 336 h 897"/>
                  <a:gd name="T52" fmla="*/ 893 w 898"/>
                  <a:gd name="T53" fmla="*/ 64 h 897"/>
                  <a:gd name="T54" fmla="*/ 803 w 898"/>
                  <a:gd name="T55" fmla="*/ 37 h 897"/>
                  <a:gd name="T56" fmla="*/ 797 w 898"/>
                  <a:gd name="T57" fmla="*/ 2 h 897"/>
                  <a:gd name="T58" fmla="*/ 102 w 898"/>
                  <a:gd name="T59" fmla="*/ 2 h 897"/>
                  <a:gd name="T60" fmla="*/ 96 w 898"/>
                  <a:gd name="T61" fmla="*/ 37 h 897"/>
                  <a:gd name="T62" fmla="*/ 5 w 898"/>
                  <a:gd name="T63" fmla="*/ 64 h 897"/>
                  <a:gd name="T64" fmla="*/ 0 w 898"/>
                  <a:gd name="T65" fmla="*/ 117 h 897"/>
                  <a:gd name="T66" fmla="*/ 15 w 898"/>
                  <a:gd name="T67" fmla="*/ 258 h 897"/>
                  <a:gd name="T68" fmla="*/ 80 w 898"/>
                  <a:gd name="T69" fmla="*/ 368 h 897"/>
                  <a:gd name="T70" fmla="*/ 179 w 898"/>
                  <a:gd name="T71" fmla="*/ 403 h 897"/>
                  <a:gd name="T72" fmla="*/ 293 w 898"/>
                  <a:gd name="T73" fmla="*/ 507 h 897"/>
                  <a:gd name="T74" fmla="*/ 371 w 898"/>
                  <a:gd name="T75" fmla="*/ 564 h 897"/>
                  <a:gd name="T76" fmla="*/ 395 w 898"/>
                  <a:gd name="T77" fmla="*/ 625 h 897"/>
                  <a:gd name="T78" fmla="*/ 374 w 898"/>
                  <a:gd name="T79" fmla="*/ 743 h 897"/>
                  <a:gd name="T80" fmla="*/ 301 w 898"/>
                  <a:gd name="T81" fmla="*/ 789 h 897"/>
                  <a:gd name="T82" fmla="*/ 244 w 898"/>
                  <a:gd name="T83" fmla="*/ 797 h 897"/>
                  <a:gd name="T84" fmla="*/ 241 w 898"/>
                  <a:gd name="T85" fmla="*/ 888 h 897"/>
                  <a:gd name="T86" fmla="*/ 643 w 898"/>
                  <a:gd name="T87" fmla="*/ 897 h 897"/>
                  <a:gd name="T88" fmla="*/ 658 w 898"/>
                  <a:gd name="T89" fmla="*/ 886 h 897"/>
                  <a:gd name="T90" fmla="*/ 652 w 898"/>
                  <a:gd name="T91" fmla="*/ 795 h 897"/>
                  <a:gd name="T92" fmla="*/ 580 w 898"/>
                  <a:gd name="T93" fmla="*/ 783 h 897"/>
                  <a:gd name="T94" fmla="*/ 515 w 898"/>
                  <a:gd name="T95" fmla="*/ 720 h 897"/>
                  <a:gd name="T96" fmla="*/ 502 w 898"/>
                  <a:gd name="T97" fmla="*/ 614 h 897"/>
                  <a:gd name="T98" fmla="*/ 531 w 898"/>
                  <a:gd name="T99" fmla="*/ 556 h 897"/>
                  <a:gd name="T100" fmla="*/ 621 w 898"/>
                  <a:gd name="T101" fmla="*/ 496 h 897"/>
                  <a:gd name="T102" fmla="*/ 734 w 898"/>
                  <a:gd name="T103" fmla="*/ 402 h 897"/>
                  <a:gd name="T104" fmla="*/ 827 w 898"/>
                  <a:gd name="T105" fmla="*/ 357 h 897"/>
                  <a:gd name="T106" fmla="*/ 876 w 898"/>
                  <a:gd name="T107" fmla="*/ 272 h 897"/>
                  <a:gd name="T108" fmla="*/ 898 w 898"/>
                  <a:gd name="T109" fmla="*/ 14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8" h="897">
                    <a:moveTo>
                      <a:pt x="737" y="371"/>
                    </a:moveTo>
                    <a:lnTo>
                      <a:pt x="749" y="348"/>
                    </a:lnTo>
                    <a:lnTo>
                      <a:pt x="761" y="320"/>
                    </a:lnTo>
                    <a:lnTo>
                      <a:pt x="770" y="290"/>
                    </a:lnTo>
                    <a:lnTo>
                      <a:pt x="779" y="258"/>
                    </a:lnTo>
                    <a:lnTo>
                      <a:pt x="787" y="221"/>
                    </a:lnTo>
                    <a:lnTo>
                      <a:pt x="794" y="181"/>
                    </a:lnTo>
                    <a:lnTo>
                      <a:pt x="798" y="137"/>
                    </a:lnTo>
                    <a:lnTo>
                      <a:pt x="801" y="90"/>
                    </a:lnTo>
                    <a:lnTo>
                      <a:pt x="868" y="90"/>
                    </a:lnTo>
                    <a:lnTo>
                      <a:pt x="868" y="113"/>
                    </a:lnTo>
                    <a:lnTo>
                      <a:pt x="868" y="141"/>
                    </a:lnTo>
                    <a:lnTo>
                      <a:pt x="866" y="174"/>
                    </a:lnTo>
                    <a:lnTo>
                      <a:pt x="861" y="209"/>
                    </a:lnTo>
                    <a:lnTo>
                      <a:pt x="858" y="227"/>
                    </a:lnTo>
                    <a:lnTo>
                      <a:pt x="854" y="244"/>
                    </a:lnTo>
                    <a:lnTo>
                      <a:pt x="848" y="261"/>
                    </a:lnTo>
                    <a:lnTo>
                      <a:pt x="842" y="278"/>
                    </a:lnTo>
                    <a:lnTo>
                      <a:pt x="836" y="294"/>
                    </a:lnTo>
                    <a:lnTo>
                      <a:pt x="827" y="309"/>
                    </a:lnTo>
                    <a:lnTo>
                      <a:pt x="817" y="324"/>
                    </a:lnTo>
                    <a:lnTo>
                      <a:pt x="806" y="337"/>
                    </a:lnTo>
                    <a:lnTo>
                      <a:pt x="798" y="343"/>
                    </a:lnTo>
                    <a:lnTo>
                      <a:pt x="791" y="350"/>
                    </a:lnTo>
                    <a:lnTo>
                      <a:pt x="783" y="355"/>
                    </a:lnTo>
                    <a:lnTo>
                      <a:pt x="775" y="359"/>
                    </a:lnTo>
                    <a:lnTo>
                      <a:pt x="766" y="364"/>
                    </a:lnTo>
                    <a:lnTo>
                      <a:pt x="756" y="367"/>
                    </a:lnTo>
                    <a:lnTo>
                      <a:pt x="747" y="370"/>
                    </a:lnTo>
                    <a:lnTo>
                      <a:pt x="737" y="371"/>
                    </a:lnTo>
                    <a:lnTo>
                      <a:pt x="737" y="371"/>
                    </a:lnTo>
                    <a:close/>
                    <a:moveTo>
                      <a:pt x="574" y="490"/>
                    </a:moveTo>
                    <a:lnTo>
                      <a:pt x="553" y="503"/>
                    </a:lnTo>
                    <a:lnTo>
                      <a:pt x="535" y="514"/>
                    </a:lnTo>
                    <a:lnTo>
                      <a:pt x="527" y="521"/>
                    </a:lnTo>
                    <a:lnTo>
                      <a:pt x="518" y="528"/>
                    </a:lnTo>
                    <a:lnTo>
                      <a:pt x="509" y="536"/>
                    </a:lnTo>
                    <a:lnTo>
                      <a:pt x="502" y="543"/>
                    </a:lnTo>
                    <a:lnTo>
                      <a:pt x="496" y="552"/>
                    </a:lnTo>
                    <a:lnTo>
                      <a:pt x="489" y="561"/>
                    </a:lnTo>
                    <a:lnTo>
                      <a:pt x="484" y="572"/>
                    </a:lnTo>
                    <a:lnTo>
                      <a:pt x="479" y="583"/>
                    </a:lnTo>
                    <a:lnTo>
                      <a:pt x="476" y="595"/>
                    </a:lnTo>
                    <a:lnTo>
                      <a:pt x="473" y="607"/>
                    </a:lnTo>
                    <a:lnTo>
                      <a:pt x="471" y="621"/>
                    </a:lnTo>
                    <a:lnTo>
                      <a:pt x="471" y="637"/>
                    </a:lnTo>
                    <a:lnTo>
                      <a:pt x="472" y="659"/>
                    </a:lnTo>
                    <a:lnTo>
                      <a:pt x="473" y="678"/>
                    </a:lnTo>
                    <a:lnTo>
                      <a:pt x="476" y="697"/>
                    </a:lnTo>
                    <a:lnTo>
                      <a:pt x="481" y="714"/>
                    </a:lnTo>
                    <a:lnTo>
                      <a:pt x="486" y="730"/>
                    </a:lnTo>
                    <a:lnTo>
                      <a:pt x="493" y="745"/>
                    </a:lnTo>
                    <a:lnTo>
                      <a:pt x="501" y="759"/>
                    </a:lnTo>
                    <a:lnTo>
                      <a:pt x="510" y="771"/>
                    </a:lnTo>
                    <a:lnTo>
                      <a:pt x="521" y="783"/>
                    </a:lnTo>
                    <a:lnTo>
                      <a:pt x="533" y="793"/>
                    </a:lnTo>
                    <a:lnTo>
                      <a:pt x="546" y="800"/>
                    </a:lnTo>
                    <a:lnTo>
                      <a:pt x="560" y="807"/>
                    </a:lnTo>
                    <a:lnTo>
                      <a:pt x="576" y="813"/>
                    </a:lnTo>
                    <a:lnTo>
                      <a:pt x="592" y="817"/>
                    </a:lnTo>
                    <a:lnTo>
                      <a:pt x="610" y="820"/>
                    </a:lnTo>
                    <a:lnTo>
                      <a:pt x="628" y="822"/>
                    </a:lnTo>
                    <a:lnTo>
                      <a:pt x="628" y="867"/>
                    </a:lnTo>
                    <a:lnTo>
                      <a:pt x="270" y="867"/>
                    </a:lnTo>
                    <a:lnTo>
                      <a:pt x="270" y="822"/>
                    </a:lnTo>
                    <a:lnTo>
                      <a:pt x="289" y="820"/>
                    </a:lnTo>
                    <a:lnTo>
                      <a:pt x="307" y="818"/>
                    </a:lnTo>
                    <a:lnTo>
                      <a:pt x="324" y="814"/>
                    </a:lnTo>
                    <a:lnTo>
                      <a:pt x="340" y="810"/>
                    </a:lnTo>
                    <a:lnTo>
                      <a:pt x="354" y="803"/>
                    </a:lnTo>
                    <a:lnTo>
                      <a:pt x="366" y="796"/>
                    </a:lnTo>
                    <a:lnTo>
                      <a:pt x="378" y="786"/>
                    </a:lnTo>
                    <a:lnTo>
                      <a:pt x="387" y="775"/>
                    </a:lnTo>
                    <a:lnTo>
                      <a:pt x="396" y="764"/>
                    </a:lnTo>
                    <a:lnTo>
                      <a:pt x="404" y="751"/>
                    </a:lnTo>
                    <a:lnTo>
                      <a:pt x="410" y="736"/>
                    </a:lnTo>
                    <a:lnTo>
                      <a:pt x="415" y="720"/>
                    </a:lnTo>
                    <a:lnTo>
                      <a:pt x="420" y="702"/>
                    </a:lnTo>
                    <a:lnTo>
                      <a:pt x="423" y="681"/>
                    </a:lnTo>
                    <a:lnTo>
                      <a:pt x="425" y="660"/>
                    </a:lnTo>
                    <a:lnTo>
                      <a:pt x="425" y="637"/>
                    </a:lnTo>
                    <a:lnTo>
                      <a:pt x="425" y="621"/>
                    </a:lnTo>
                    <a:lnTo>
                      <a:pt x="423" y="607"/>
                    </a:lnTo>
                    <a:lnTo>
                      <a:pt x="421" y="595"/>
                    </a:lnTo>
                    <a:lnTo>
                      <a:pt x="416" y="583"/>
                    </a:lnTo>
                    <a:lnTo>
                      <a:pt x="412" y="572"/>
                    </a:lnTo>
                    <a:lnTo>
                      <a:pt x="407" y="561"/>
                    </a:lnTo>
                    <a:lnTo>
                      <a:pt x="401" y="553"/>
                    </a:lnTo>
                    <a:lnTo>
                      <a:pt x="394" y="544"/>
                    </a:lnTo>
                    <a:lnTo>
                      <a:pt x="386" y="536"/>
                    </a:lnTo>
                    <a:lnTo>
                      <a:pt x="379" y="528"/>
                    </a:lnTo>
                    <a:lnTo>
                      <a:pt x="370" y="522"/>
                    </a:lnTo>
                    <a:lnTo>
                      <a:pt x="362" y="516"/>
                    </a:lnTo>
                    <a:lnTo>
                      <a:pt x="344" y="503"/>
                    </a:lnTo>
                    <a:lnTo>
                      <a:pt x="324" y="491"/>
                    </a:lnTo>
                    <a:lnTo>
                      <a:pt x="308" y="481"/>
                    </a:lnTo>
                    <a:lnTo>
                      <a:pt x="292" y="472"/>
                    </a:lnTo>
                    <a:lnTo>
                      <a:pt x="275" y="460"/>
                    </a:lnTo>
                    <a:lnTo>
                      <a:pt x="258" y="446"/>
                    </a:lnTo>
                    <a:lnTo>
                      <a:pt x="242" y="431"/>
                    </a:lnTo>
                    <a:lnTo>
                      <a:pt x="226" y="414"/>
                    </a:lnTo>
                    <a:lnTo>
                      <a:pt x="217" y="404"/>
                    </a:lnTo>
                    <a:lnTo>
                      <a:pt x="210" y="394"/>
                    </a:lnTo>
                    <a:lnTo>
                      <a:pt x="202" y="383"/>
                    </a:lnTo>
                    <a:lnTo>
                      <a:pt x="195" y="371"/>
                    </a:lnTo>
                    <a:lnTo>
                      <a:pt x="188" y="358"/>
                    </a:lnTo>
                    <a:lnTo>
                      <a:pt x="181" y="344"/>
                    </a:lnTo>
                    <a:lnTo>
                      <a:pt x="174" y="329"/>
                    </a:lnTo>
                    <a:lnTo>
                      <a:pt x="167" y="313"/>
                    </a:lnTo>
                    <a:lnTo>
                      <a:pt x="162" y="297"/>
                    </a:lnTo>
                    <a:lnTo>
                      <a:pt x="157" y="279"/>
                    </a:lnTo>
                    <a:lnTo>
                      <a:pt x="151" y="260"/>
                    </a:lnTo>
                    <a:lnTo>
                      <a:pt x="146" y="240"/>
                    </a:lnTo>
                    <a:lnTo>
                      <a:pt x="142" y="218"/>
                    </a:lnTo>
                    <a:lnTo>
                      <a:pt x="137" y="196"/>
                    </a:lnTo>
                    <a:lnTo>
                      <a:pt x="134" y="172"/>
                    </a:lnTo>
                    <a:lnTo>
                      <a:pt x="131" y="147"/>
                    </a:lnTo>
                    <a:lnTo>
                      <a:pt x="129" y="120"/>
                    </a:lnTo>
                    <a:lnTo>
                      <a:pt x="127" y="91"/>
                    </a:lnTo>
                    <a:lnTo>
                      <a:pt x="126" y="61"/>
                    </a:lnTo>
                    <a:lnTo>
                      <a:pt x="126" y="30"/>
                    </a:lnTo>
                    <a:lnTo>
                      <a:pt x="774" y="30"/>
                    </a:lnTo>
                    <a:lnTo>
                      <a:pt x="774" y="61"/>
                    </a:lnTo>
                    <a:lnTo>
                      <a:pt x="771" y="91"/>
                    </a:lnTo>
                    <a:lnTo>
                      <a:pt x="770" y="119"/>
                    </a:lnTo>
                    <a:lnTo>
                      <a:pt x="767" y="145"/>
                    </a:lnTo>
                    <a:lnTo>
                      <a:pt x="765" y="171"/>
                    </a:lnTo>
                    <a:lnTo>
                      <a:pt x="761" y="195"/>
                    </a:lnTo>
                    <a:lnTo>
                      <a:pt x="758" y="217"/>
                    </a:lnTo>
                    <a:lnTo>
                      <a:pt x="753" y="239"/>
                    </a:lnTo>
                    <a:lnTo>
                      <a:pt x="748" y="259"/>
                    </a:lnTo>
                    <a:lnTo>
                      <a:pt x="743" y="278"/>
                    </a:lnTo>
                    <a:lnTo>
                      <a:pt x="737" y="296"/>
                    </a:lnTo>
                    <a:lnTo>
                      <a:pt x="731" y="312"/>
                    </a:lnTo>
                    <a:lnTo>
                      <a:pt x="724" y="328"/>
                    </a:lnTo>
                    <a:lnTo>
                      <a:pt x="718" y="343"/>
                    </a:lnTo>
                    <a:lnTo>
                      <a:pt x="710" y="356"/>
                    </a:lnTo>
                    <a:lnTo>
                      <a:pt x="704" y="369"/>
                    </a:lnTo>
                    <a:lnTo>
                      <a:pt x="697" y="382"/>
                    </a:lnTo>
                    <a:lnTo>
                      <a:pt x="688" y="393"/>
                    </a:lnTo>
                    <a:lnTo>
                      <a:pt x="681" y="403"/>
                    </a:lnTo>
                    <a:lnTo>
                      <a:pt x="673" y="413"/>
                    </a:lnTo>
                    <a:lnTo>
                      <a:pt x="656" y="430"/>
                    </a:lnTo>
                    <a:lnTo>
                      <a:pt x="640" y="445"/>
                    </a:lnTo>
                    <a:lnTo>
                      <a:pt x="623" y="459"/>
                    </a:lnTo>
                    <a:lnTo>
                      <a:pt x="606" y="471"/>
                    </a:lnTo>
                    <a:lnTo>
                      <a:pt x="590" y="480"/>
                    </a:lnTo>
                    <a:lnTo>
                      <a:pt x="574" y="490"/>
                    </a:lnTo>
                    <a:lnTo>
                      <a:pt x="574" y="490"/>
                    </a:lnTo>
                    <a:close/>
                    <a:moveTo>
                      <a:pt x="89" y="336"/>
                    </a:moveTo>
                    <a:lnTo>
                      <a:pt x="78" y="324"/>
                    </a:lnTo>
                    <a:lnTo>
                      <a:pt x="69" y="310"/>
                    </a:lnTo>
                    <a:lnTo>
                      <a:pt x="61" y="295"/>
                    </a:lnTo>
                    <a:lnTo>
                      <a:pt x="54" y="280"/>
                    </a:lnTo>
                    <a:lnTo>
                      <a:pt x="49" y="264"/>
                    </a:lnTo>
                    <a:lnTo>
                      <a:pt x="43" y="247"/>
                    </a:lnTo>
                    <a:lnTo>
                      <a:pt x="40" y="230"/>
                    </a:lnTo>
                    <a:lnTo>
                      <a:pt x="37" y="213"/>
                    </a:lnTo>
                    <a:lnTo>
                      <a:pt x="32" y="178"/>
                    </a:lnTo>
                    <a:lnTo>
                      <a:pt x="30" y="145"/>
                    </a:lnTo>
                    <a:lnTo>
                      <a:pt x="30" y="116"/>
                    </a:lnTo>
                    <a:lnTo>
                      <a:pt x="30" y="90"/>
                    </a:lnTo>
                    <a:lnTo>
                      <a:pt x="30" y="90"/>
                    </a:lnTo>
                    <a:lnTo>
                      <a:pt x="30" y="90"/>
                    </a:lnTo>
                    <a:lnTo>
                      <a:pt x="97" y="90"/>
                    </a:lnTo>
                    <a:lnTo>
                      <a:pt x="100" y="137"/>
                    </a:lnTo>
                    <a:lnTo>
                      <a:pt x="105" y="181"/>
                    </a:lnTo>
                    <a:lnTo>
                      <a:pt x="112" y="221"/>
                    </a:lnTo>
                    <a:lnTo>
                      <a:pt x="119" y="258"/>
                    </a:lnTo>
                    <a:lnTo>
                      <a:pt x="128" y="291"/>
                    </a:lnTo>
                    <a:lnTo>
                      <a:pt x="137" y="321"/>
                    </a:lnTo>
                    <a:lnTo>
                      <a:pt x="149" y="348"/>
                    </a:lnTo>
                    <a:lnTo>
                      <a:pt x="161" y="372"/>
                    </a:lnTo>
                    <a:lnTo>
                      <a:pt x="150" y="370"/>
                    </a:lnTo>
                    <a:lnTo>
                      <a:pt x="140" y="367"/>
                    </a:lnTo>
                    <a:lnTo>
                      <a:pt x="131" y="364"/>
                    </a:lnTo>
                    <a:lnTo>
                      <a:pt x="121" y="359"/>
                    </a:lnTo>
                    <a:lnTo>
                      <a:pt x="113" y="355"/>
                    </a:lnTo>
                    <a:lnTo>
                      <a:pt x="105" y="350"/>
                    </a:lnTo>
                    <a:lnTo>
                      <a:pt x="97" y="343"/>
                    </a:lnTo>
                    <a:lnTo>
                      <a:pt x="89" y="336"/>
                    </a:lnTo>
                    <a:lnTo>
                      <a:pt x="89" y="336"/>
                    </a:lnTo>
                    <a:close/>
                    <a:moveTo>
                      <a:pt x="898" y="86"/>
                    </a:moveTo>
                    <a:lnTo>
                      <a:pt x="898" y="80"/>
                    </a:lnTo>
                    <a:lnTo>
                      <a:pt x="898" y="75"/>
                    </a:lnTo>
                    <a:lnTo>
                      <a:pt x="898" y="72"/>
                    </a:lnTo>
                    <a:lnTo>
                      <a:pt x="897" y="70"/>
                    </a:lnTo>
                    <a:lnTo>
                      <a:pt x="895" y="66"/>
                    </a:lnTo>
                    <a:lnTo>
                      <a:pt x="893" y="64"/>
                    </a:lnTo>
                    <a:lnTo>
                      <a:pt x="891" y="62"/>
                    </a:lnTo>
                    <a:lnTo>
                      <a:pt x="889" y="61"/>
                    </a:lnTo>
                    <a:lnTo>
                      <a:pt x="886" y="60"/>
                    </a:lnTo>
                    <a:lnTo>
                      <a:pt x="883" y="60"/>
                    </a:lnTo>
                    <a:lnTo>
                      <a:pt x="802" y="60"/>
                    </a:lnTo>
                    <a:lnTo>
                      <a:pt x="803" y="49"/>
                    </a:lnTo>
                    <a:lnTo>
                      <a:pt x="803" y="37"/>
                    </a:lnTo>
                    <a:lnTo>
                      <a:pt x="803" y="27"/>
                    </a:lnTo>
                    <a:lnTo>
                      <a:pt x="803" y="15"/>
                    </a:lnTo>
                    <a:lnTo>
                      <a:pt x="803" y="12"/>
                    </a:lnTo>
                    <a:lnTo>
                      <a:pt x="802" y="10"/>
                    </a:lnTo>
                    <a:lnTo>
                      <a:pt x="801" y="6"/>
                    </a:lnTo>
                    <a:lnTo>
                      <a:pt x="799" y="4"/>
                    </a:lnTo>
                    <a:lnTo>
                      <a:pt x="797" y="2"/>
                    </a:lnTo>
                    <a:lnTo>
                      <a:pt x="795" y="1"/>
                    </a:lnTo>
                    <a:lnTo>
                      <a:pt x="792" y="0"/>
                    </a:lnTo>
                    <a:lnTo>
                      <a:pt x="789" y="0"/>
                    </a:lnTo>
                    <a:lnTo>
                      <a:pt x="111" y="0"/>
                    </a:lnTo>
                    <a:lnTo>
                      <a:pt x="107" y="0"/>
                    </a:lnTo>
                    <a:lnTo>
                      <a:pt x="104" y="1"/>
                    </a:lnTo>
                    <a:lnTo>
                      <a:pt x="102" y="2"/>
                    </a:lnTo>
                    <a:lnTo>
                      <a:pt x="100" y="4"/>
                    </a:lnTo>
                    <a:lnTo>
                      <a:pt x="98" y="6"/>
                    </a:lnTo>
                    <a:lnTo>
                      <a:pt x="97" y="10"/>
                    </a:lnTo>
                    <a:lnTo>
                      <a:pt x="96" y="12"/>
                    </a:lnTo>
                    <a:lnTo>
                      <a:pt x="96" y="15"/>
                    </a:lnTo>
                    <a:lnTo>
                      <a:pt x="96" y="27"/>
                    </a:lnTo>
                    <a:lnTo>
                      <a:pt x="96" y="37"/>
                    </a:lnTo>
                    <a:lnTo>
                      <a:pt x="96" y="49"/>
                    </a:lnTo>
                    <a:lnTo>
                      <a:pt x="96" y="60"/>
                    </a:lnTo>
                    <a:lnTo>
                      <a:pt x="15" y="60"/>
                    </a:lnTo>
                    <a:lnTo>
                      <a:pt x="12" y="60"/>
                    </a:lnTo>
                    <a:lnTo>
                      <a:pt x="10" y="61"/>
                    </a:lnTo>
                    <a:lnTo>
                      <a:pt x="7" y="62"/>
                    </a:lnTo>
                    <a:lnTo>
                      <a:pt x="5" y="64"/>
                    </a:lnTo>
                    <a:lnTo>
                      <a:pt x="4" y="66"/>
                    </a:lnTo>
                    <a:lnTo>
                      <a:pt x="1" y="70"/>
                    </a:lnTo>
                    <a:lnTo>
                      <a:pt x="1" y="72"/>
                    </a:lnTo>
                    <a:lnTo>
                      <a:pt x="0" y="75"/>
                    </a:lnTo>
                    <a:lnTo>
                      <a:pt x="0" y="82"/>
                    </a:lnTo>
                    <a:lnTo>
                      <a:pt x="0" y="90"/>
                    </a:lnTo>
                    <a:lnTo>
                      <a:pt x="0" y="117"/>
                    </a:lnTo>
                    <a:lnTo>
                      <a:pt x="0" y="149"/>
                    </a:lnTo>
                    <a:lnTo>
                      <a:pt x="1" y="166"/>
                    </a:lnTo>
                    <a:lnTo>
                      <a:pt x="3" y="184"/>
                    </a:lnTo>
                    <a:lnTo>
                      <a:pt x="5" y="202"/>
                    </a:lnTo>
                    <a:lnTo>
                      <a:pt x="8" y="220"/>
                    </a:lnTo>
                    <a:lnTo>
                      <a:pt x="11" y="240"/>
                    </a:lnTo>
                    <a:lnTo>
                      <a:pt x="15" y="258"/>
                    </a:lnTo>
                    <a:lnTo>
                      <a:pt x="21" y="277"/>
                    </a:lnTo>
                    <a:lnTo>
                      <a:pt x="28" y="294"/>
                    </a:lnTo>
                    <a:lnTo>
                      <a:pt x="36" y="311"/>
                    </a:lnTo>
                    <a:lnTo>
                      <a:pt x="45" y="328"/>
                    </a:lnTo>
                    <a:lnTo>
                      <a:pt x="56" y="343"/>
                    </a:lnTo>
                    <a:lnTo>
                      <a:pt x="68" y="357"/>
                    </a:lnTo>
                    <a:lnTo>
                      <a:pt x="80" y="368"/>
                    </a:lnTo>
                    <a:lnTo>
                      <a:pt x="91" y="376"/>
                    </a:lnTo>
                    <a:lnTo>
                      <a:pt x="104" y="384"/>
                    </a:lnTo>
                    <a:lnTo>
                      <a:pt x="118" y="390"/>
                    </a:lnTo>
                    <a:lnTo>
                      <a:pt x="132" y="396"/>
                    </a:lnTo>
                    <a:lnTo>
                      <a:pt x="147" y="400"/>
                    </a:lnTo>
                    <a:lnTo>
                      <a:pt x="163" y="402"/>
                    </a:lnTo>
                    <a:lnTo>
                      <a:pt x="179" y="403"/>
                    </a:lnTo>
                    <a:lnTo>
                      <a:pt x="195" y="425"/>
                    </a:lnTo>
                    <a:lnTo>
                      <a:pt x="211" y="443"/>
                    </a:lnTo>
                    <a:lnTo>
                      <a:pt x="227" y="459"/>
                    </a:lnTo>
                    <a:lnTo>
                      <a:pt x="243" y="473"/>
                    </a:lnTo>
                    <a:lnTo>
                      <a:pt x="260" y="486"/>
                    </a:lnTo>
                    <a:lnTo>
                      <a:pt x="276" y="497"/>
                    </a:lnTo>
                    <a:lnTo>
                      <a:pt x="293" y="507"/>
                    </a:lnTo>
                    <a:lnTo>
                      <a:pt x="308" y="517"/>
                    </a:lnTo>
                    <a:lnTo>
                      <a:pt x="328" y="528"/>
                    </a:lnTo>
                    <a:lnTo>
                      <a:pt x="345" y="539"/>
                    </a:lnTo>
                    <a:lnTo>
                      <a:pt x="352" y="545"/>
                    </a:lnTo>
                    <a:lnTo>
                      <a:pt x="359" y="551"/>
                    </a:lnTo>
                    <a:lnTo>
                      <a:pt x="366" y="557"/>
                    </a:lnTo>
                    <a:lnTo>
                      <a:pt x="371" y="564"/>
                    </a:lnTo>
                    <a:lnTo>
                      <a:pt x="377" y="570"/>
                    </a:lnTo>
                    <a:lnTo>
                      <a:pt x="382" y="578"/>
                    </a:lnTo>
                    <a:lnTo>
                      <a:pt x="385" y="585"/>
                    </a:lnTo>
                    <a:lnTo>
                      <a:pt x="390" y="594"/>
                    </a:lnTo>
                    <a:lnTo>
                      <a:pt x="392" y="603"/>
                    </a:lnTo>
                    <a:lnTo>
                      <a:pt x="394" y="614"/>
                    </a:lnTo>
                    <a:lnTo>
                      <a:pt x="395" y="625"/>
                    </a:lnTo>
                    <a:lnTo>
                      <a:pt x="395" y="636"/>
                    </a:lnTo>
                    <a:lnTo>
                      <a:pt x="395" y="660"/>
                    </a:lnTo>
                    <a:lnTo>
                      <a:pt x="393" y="681"/>
                    </a:lnTo>
                    <a:lnTo>
                      <a:pt x="390" y="699"/>
                    </a:lnTo>
                    <a:lnTo>
                      <a:pt x="385" y="717"/>
                    </a:lnTo>
                    <a:lnTo>
                      <a:pt x="380" y="730"/>
                    </a:lnTo>
                    <a:lnTo>
                      <a:pt x="374" y="743"/>
                    </a:lnTo>
                    <a:lnTo>
                      <a:pt x="366" y="754"/>
                    </a:lnTo>
                    <a:lnTo>
                      <a:pt x="358" y="764"/>
                    </a:lnTo>
                    <a:lnTo>
                      <a:pt x="348" y="771"/>
                    </a:lnTo>
                    <a:lnTo>
                      <a:pt x="338" y="778"/>
                    </a:lnTo>
                    <a:lnTo>
                      <a:pt x="327" y="783"/>
                    </a:lnTo>
                    <a:lnTo>
                      <a:pt x="314" y="786"/>
                    </a:lnTo>
                    <a:lnTo>
                      <a:pt x="301" y="789"/>
                    </a:lnTo>
                    <a:lnTo>
                      <a:pt x="287" y="791"/>
                    </a:lnTo>
                    <a:lnTo>
                      <a:pt x="271" y="793"/>
                    </a:lnTo>
                    <a:lnTo>
                      <a:pt x="255" y="793"/>
                    </a:lnTo>
                    <a:lnTo>
                      <a:pt x="252" y="793"/>
                    </a:lnTo>
                    <a:lnTo>
                      <a:pt x="250" y="794"/>
                    </a:lnTo>
                    <a:lnTo>
                      <a:pt x="246" y="795"/>
                    </a:lnTo>
                    <a:lnTo>
                      <a:pt x="244" y="797"/>
                    </a:lnTo>
                    <a:lnTo>
                      <a:pt x="242" y="799"/>
                    </a:lnTo>
                    <a:lnTo>
                      <a:pt x="241" y="802"/>
                    </a:lnTo>
                    <a:lnTo>
                      <a:pt x="240" y="804"/>
                    </a:lnTo>
                    <a:lnTo>
                      <a:pt x="240" y="807"/>
                    </a:lnTo>
                    <a:lnTo>
                      <a:pt x="240" y="882"/>
                    </a:lnTo>
                    <a:lnTo>
                      <a:pt x="240" y="886"/>
                    </a:lnTo>
                    <a:lnTo>
                      <a:pt x="241" y="888"/>
                    </a:lnTo>
                    <a:lnTo>
                      <a:pt x="242" y="891"/>
                    </a:lnTo>
                    <a:lnTo>
                      <a:pt x="244" y="893"/>
                    </a:lnTo>
                    <a:lnTo>
                      <a:pt x="246" y="894"/>
                    </a:lnTo>
                    <a:lnTo>
                      <a:pt x="250" y="896"/>
                    </a:lnTo>
                    <a:lnTo>
                      <a:pt x="252" y="897"/>
                    </a:lnTo>
                    <a:lnTo>
                      <a:pt x="255" y="897"/>
                    </a:lnTo>
                    <a:lnTo>
                      <a:pt x="643" y="897"/>
                    </a:lnTo>
                    <a:lnTo>
                      <a:pt x="646" y="897"/>
                    </a:lnTo>
                    <a:lnTo>
                      <a:pt x="649" y="896"/>
                    </a:lnTo>
                    <a:lnTo>
                      <a:pt x="652" y="894"/>
                    </a:lnTo>
                    <a:lnTo>
                      <a:pt x="654" y="893"/>
                    </a:lnTo>
                    <a:lnTo>
                      <a:pt x="656" y="891"/>
                    </a:lnTo>
                    <a:lnTo>
                      <a:pt x="657" y="888"/>
                    </a:lnTo>
                    <a:lnTo>
                      <a:pt x="658" y="886"/>
                    </a:lnTo>
                    <a:lnTo>
                      <a:pt x="658" y="882"/>
                    </a:lnTo>
                    <a:lnTo>
                      <a:pt x="658" y="807"/>
                    </a:lnTo>
                    <a:lnTo>
                      <a:pt x="658" y="804"/>
                    </a:lnTo>
                    <a:lnTo>
                      <a:pt x="657" y="802"/>
                    </a:lnTo>
                    <a:lnTo>
                      <a:pt x="656" y="799"/>
                    </a:lnTo>
                    <a:lnTo>
                      <a:pt x="654" y="797"/>
                    </a:lnTo>
                    <a:lnTo>
                      <a:pt x="652" y="795"/>
                    </a:lnTo>
                    <a:lnTo>
                      <a:pt x="649" y="794"/>
                    </a:lnTo>
                    <a:lnTo>
                      <a:pt x="646" y="793"/>
                    </a:lnTo>
                    <a:lnTo>
                      <a:pt x="643" y="793"/>
                    </a:lnTo>
                    <a:lnTo>
                      <a:pt x="626" y="791"/>
                    </a:lnTo>
                    <a:lnTo>
                      <a:pt x="610" y="790"/>
                    </a:lnTo>
                    <a:lnTo>
                      <a:pt x="594" y="787"/>
                    </a:lnTo>
                    <a:lnTo>
                      <a:pt x="580" y="783"/>
                    </a:lnTo>
                    <a:lnTo>
                      <a:pt x="567" y="778"/>
                    </a:lnTo>
                    <a:lnTo>
                      <a:pt x="555" y="771"/>
                    </a:lnTo>
                    <a:lnTo>
                      <a:pt x="545" y="764"/>
                    </a:lnTo>
                    <a:lnTo>
                      <a:pt x="535" y="755"/>
                    </a:lnTo>
                    <a:lnTo>
                      <a:pt x="528" y="744"/>
                    </a:lnTo>
                    <a:lnTo>
                      <a:pt x="520" y="733"/>
                    </a:lnTo>
                    <a:lnTo>
                      <a:pt x="515" y="720"/>
                    </a:lnTo>
                    <a:lnTo>
                      <a:pt x="509" y="706"/>
                    </a:lnTo>
                    <a:lnTo>
                      <a:pt x="505" y="691"/>
                    </a:lnTo>
                    <a:lnTo>
                      <a:pt x="503" y="674"/>
                    </a:lnTo>
                    <a:lnTo>
                      <a:pt x="501" y="657"/>
                    </a:lnTo>
                    <a:lnTo>
                      <a:pt x="501" y="637"/>
                    </a:lnTo>
                    <a:lnTo>
                      <a:pt x="501" y="625"/>
                    </a:lnTo>
                    <a:lnTo>
                      <a:pt x="502" y="614"/>
                    </a:lnTo>
                    <a:lnTo>
                      <a:pt x="504" y="603"/>
                    </a:lnTo>
                    <a:lnTo>
                      <a:pt x="507" y="594"/>
                    </a:lnTo>
                    <a:lnTo>
                      <a:pt x="510" y="585"/>
                    </a:lnTo>
                    <a:lnTo>
                      <a:pt x="515" y="578"/>
                    </a:lnTo>
                    <a:lnTo>
                      <a:pt x="519" y="570"/>
                    </a:lnTo>
                    <a:lnTo>
                      <a:pt x="524" y="563"/>
                    </a:lnTo>
                    <a:lnTo>
                      <a:pt x="531" y="556"/>
                    </a:lnTo>
                    <a:lnTo>
                      <a:pt x="537" y="550"/>
                    </a:lnTo>
                    <a:lnTo>
                      <a:pt x="545" y="544"/>
                    </a:lnTo>
                    <a:lnTo>
                      <a:pt x="552" y="539"/>
                    </a:lnTo>
                    <a:lnTo>
                      <a:pt x="569" y="527"/>
                    </a:lnTo>
                    <a:lnTo>
                      <a:pt x="589" y="516"/>
                    </a:lnTo>
                    <a:lnTo>
                      <a:pt x="605" y="506"/>
                    </a:lnTo>
                    <a:lnTo>
                      <a:pt x="621" y="496"/>
                    </a:lnTo>
                    <a:lnTo>
                      <a:pt x="637" y="484"/>
                    </a:lnTo>
                    <a:lnTo>
                      <a:pt x="654" y="473"/>
                    </a:lnTo>
                    <a:lnTo>
                      <a:pt x="670" y="459"/>
                    </a:lnTo>
                    <a:lnTo>
                      <a:pt x="687" y="443"/>
                    </a:lnTo>
                    <a:lnTo>
                      <a:pt x="703" y="425"/>
                    </a:lnTo>
                    <a:lnTo>
                      <a:pt x="718" y="403"/>
                    </a:lnTo>
                    <a:lnTo>
                      <a:pt x="734" y="402"/>
                    </a:lnTo>
                    <a:lnTo>
                      <a:pt x="750" y="400"/>
                    </a:lnTo>
                    <a:lnTo>
                      <a:pt x="764" y="396"/>
                    </a:lnTo>
                    <a:lnTo>
                      <a:pt x="778" y="390"/>
                    </a:lnTo>
                    <a:lnTo>
                      <a:pt x="792" y="384"/>
                    </a:lnTo>
                    <a:lnTo>
                      <a:pt x="805" y="376"/>
                    </a:lnTo>
                    <a:lnTo>
                      <a:pt x="816" y="368"/>
                    </a:lnTo>
                    <a:lnTo>
                      <a:pt x="827" y="357"/>
                    </a:lnTo>
                    <a:lnTo>
                      <a:pt x="833" y="350"/>
                    </a:lnTo>
                    <a:lnTo>
                      <a:pt x="840" y="342"/>
                    </a:lnTo>
                    <a:lnTo>
                      <a:pt x="846" y="335"/>
                    </a:lnTo>
                    <a:lnTo>
                      <a:pt x="852" y="326"/>
                    </a:lnTo>
                    <a:lnTo>
                      <a:pt x="861" y="309"/>
                    </a:lnTo>
                    <a:lnTo>
                      <a:pt x="869" y="291"/>
                    </a:lnTo>
                    <a:lnTo>
                      <a:pt x="876" y="272"/>
                    </a:lnTo>
                    <a:lnTo>
                      <a:pt x="882" y="252"/>
                    </a:lnTo>
                    <a:lnTo>
                      <a:pt x="887" y="233"/>
                    </a:lnTo>
                    <a:lnTo>
                      <a:pt x="890" y="214"/>
                    </a:lnTo>
                    <a:lnTo>
                      <a:pt x="893" y="195"/>
                    </a:lnTo>
                    <a:lnTo>
                      <a:pt x="895" y="175"/>
                    </a:lnTo>
                    <a:lnTo>
                      <a:pt x="897" y="157"/>
                    </a:lnTo>
                    <a:lnTo>
                      <a:pt x="898" y="140"/>
                    </a:lnTo>
                    <a:lnTo>
                      <a:pt x="898" y="110"/>
                    </a:lnTo>
                    <a:lnTo>
                      <a:pt x="898" y="86"/>
                    </a:lnTo>
                    <a:close/>
                  </a:path>
                </a:pathLst>
              </a:custGeom>
              <a:solidFill>
                <a:srgbClr val="8AAAE5"/>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12" name="Isosceles Triangle 111"/>
          <p:cNvSpPr/>
          <p:nvPr/>
        </p:nvSpPr>
        <p:spPr>
          <a:xfrm rot="10800000">
            <a:off x="6919566" y="5937572"/>
            <a:ext cx="230661" cy="180770"/>
          </a:xfrm>
          <a:prstGeom prst="triangle">
            <a:avLst/>
          </a:prstGeom>
          <a:solidFill>
            <a:schemeClr val="bg1"/>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Isosceles Triangle 112"/>
          <p:cNvSpPr/>
          <p:nvPr/>
        </p:nvSpPr>
        <p:spPr>
          <a:xfrm rot="10800000">
            <a:off x="6994474" y="6026574"/>
            <a:ext cx="80845" cy="63359"/>
          </a:xfrm>
          <a:prstGeom prst="triangle">
            <a:avLst/>
          </a:pr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TextBox 113"/>
          <p:cNvSpPr txBox="1"/>
          <p:nvPr/>
        </p:nvSpPr>
        <p:spPr>
          <a:xfrm>
            <a:off x="6766250" y="6177771"/>
            <a:ext cx="537293"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75000"/>
                    <a:lumOff val="25000"/>
                  </a:schemeClr>
                </a:solidFill>
              </a:rPr>
              <a:t>2008</a:t>
            </a:r>
          </a:p>
        </p:txBody>
      </p:sp>
      <p:cxnSp>
        <p:nvCxnSpPr>
          <p:cNvPr id="43" name="Straight Connector 42"/>
          <p:cNvCxnSpPr/>
          <p:nvPr/>
        </p:nvCxnSpPr>
        <p:spPr>
          <a:xfrm flipV="1">
            <a:off x="3299269" y="4554009"/>
            <a:ext cx="0" cy="1381182"/>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7034896" y="4554009"/>
            <a:ext cx="0" cy="1381182"/>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2332846" y="3787406"/>
            <a:ext cx="1932846" cy="738664"/>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NEW FACTORY</a:t>
            </a:r>
          </a:p>
          <a:p>
            <a:pPr algn="ctr"/>
            <a:r>
              <a:rPr lang="en-US" sz="1200" dirty="0">
                <a:solidFill>
                  <a:schemeClr val="tx1">
                    <a:lumMod val="95000"/>
                    <a:lumOff val="5000"/>
                  </a:schemeClr>
                </a:solidFill>
              </a:rPr>
              <a:t>Relocated operations to a bigger factory at </a:t>
            </a:r>
            <a:r>
              <a:rPr lang="en-US" sz="1200" dirty="0" err="1">
                <a:solidFill>
                  <a:schemeClr val="tx1">
                    <a:lumMod val="95000"/>
                    <a:lumOff val="5000"/>
                  </a:schemeClr>
                </a:solidFill>
              </a:rPr>
              <a:t>Bulandshahar</a:t>
            </a:r>
            <a:r>
              <a:rPr lang="en-US" sz="1200" dirty="0">
                <a:solidFill>
                  <a:schemeClr val="tx1">
                    <a:lumMod val="95000"/>
                    <a:lumOff val="5000"/>
                  </a:schemeClr>
                </a:solidFill>
              </a:rPr>
              <a:t> Road Industrial Area. </a:t>
            </a:r>
          </a:p>
        </p:txBody>
      </p:sp>
      <p:sp>
        <p:nvSpPr>
          <p:cNvPr id="121" name="TextBox 120"/>
          <p:cNvSpPr txBox="1"/>
          <p:nvPr/>
        </p:nvSpPr>
        <p:spPr>
          <a:xfrm>
            <a:off x="6068473" y="3787406"/>
            <a:ext cx="1932846" cy="738664"/>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VMC</a:t>
            </a:r>
          </a:p>
          <a:p>
            <a:pPr algn="ctr"/>
            <a:r>
              <a:rPr lang="en-US" sz="1200" dirty="0">
                <a:solidFill>
                  <a:schemeClr val="tx1">
                    <a:lumMod val="95000"/>
                    <a:lumOff val="5000"/>
                  </a:schemeClr>
                </a:solidFill>
              </a:rPr>
              <a:t>Added our first VMC machine to speed our milling operations. </a:t>
            </a:r>
          </a:p>
        </p:txBody>
      </p:sp>
      <p:grpSp>
        <p:nvGrpSpPr>
          <p:cNvPr id="15" name="Group 14"/>
          <p:cNvGrpSpPr/>
          <p:nvPr/>
        </p:nvGrpSpPr>
        <p:grpSpPr>
          <a:xfrm>
            <a:off x="6516082" y="2349101"/>
            <a:ext cx="1037628" cy="1037628"/>
            <a:chOff x="7963954" y="2340963"/>
            <a:chExt cx="779585" cy="779585"/>
          </a:xfrm>
        </p:grpSpPr>
        <p:sp>
          <p:nvSpPr>
            <p:cNvPr id="117" name="Diamond 116"/>
            <p:cNvSpPr/>
            <p:nvPr/>
          </p:nvSpPr>
          <p:spPr>
            <a:xfrm>
              <a:off x="7963954" y="2340963"/>
              <a:ext cx="779585" cy="779585"/>
            </a:xfrm>
            <a:prstGeom prst="diamond">
              <a:avLst/>
            </a:prstGeom>
            <a:noFill/>
            <a:ln w="127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Freeform 329"/>
            <p:cNvSpPr>
              <a:spLocks noChangeAspect="1" noEditPoints="1"/>
            </p:cNvSpPr>
            <p:nvPr/>
          </p:nvSpPr>
          <p:spPr bwMode="auto">
            <a:xfrm>
              <a:off x="8205608" y="2586755"/>
              <a:ext cx="296276" cy="288000"/>
            </a:xfrm>
            <a:custGeom>
              <a:avLst/>
              <a:gdLst>
                <a:gd name="T0" fmla="*/ 867 w 896"/>
                <a:gd name="T1" fmla="*/ 271 h 869"/>
                <a:gd name="T2" fmla="*/ 598 w 896"/>
                <a:gd name="T3" fmla="*/ 421 h 869"/>
                <a:gd name="T4" fmla="*/ 298 w 896"/>
                <a:gd name="T5" fmla="*/ 421 h 869"/>
                <a:gd name="T6" fmla="*/ 30 w 896"/>
                <a:gd name="T7" fmla="*/ 271 h 869"/>
                <a:gd name="T8" fmla="*/ 30 w 896"/>
                <a:gd name="T9" fmla="*/ 271 h 869"/>
                <a:gd name="T10" fmla="*/ 262 w 896"/>
                <a:gd name="T11" fmla="*/ 39 h 869"/>
                <a:gd name="T12" fmla="*/ 292 w 896"/>
                <a:gd name="T13" fmla="*/ 30 h 869"/>
                <a:gd name="T14" fmla="*/ 323 w 896"/>
                <a:gd name="T15" fmla="*/ 33 h 869"/>
                <a:gd name="T16" fmla="*/ 350 w 896"/>
                <a:gd name="T17" fmla="*/ 47 h 869"/>
                <a:gd name="T18" fmla="*/ 370 w 896"/>
                <a:gd name="T19" fmla="*/ 74 h 869"/>
                <a:gd name="T20" fmla="*/ 403 w 896"/>
                <a:gd name="T21" fmla="*/ 159 h 869"/>
                <a:gd name="T22" fmla="*/ 402 w 896"/>
                <a:gd name="T23" fmla="*/ 228 h 869"/>
                <a:gd name="T24" fmla="*/ 296 w 896"/>
                <a:gd name="T25" fmla="*/ 194 h 869"/>
                <a:gd name="T26" fmla="*/ 249 w 896"/>
                <a:gd name="T27" fmla="*/ 170 h 869"/>
                <a:gd name="T28" fmla="*/ 230 w 896"/>
                <a:gd name="T29" fmla="*/ 146 h 869"/>
                <a:gd name="T30" fmla="*/ 221 w 896"/>
                <a:gd name="T31" fmla="*/ 117 h 869"/>
                <a:gd name="T32" fmla="*/ 224 w 896"/>
                <a:gd name="T33" fmla="*/ 87 h 869"/>
                <a:gd name="T34" fmla="*/ 239 w 896"/>
                <a:gd name="T35" fmla="*/ 59 h 869"/>
                <a:gd name="T36" fmla="*/ 543 w 896"/>
                <a:gd name="T37" fmla="*/ 47 h 869"/>
                <a:gd name="T38" fmla="*/ 570 w 896"/>
                <a:gd name="T39" fmla="*/ 33 h 869"/>
                <a:gd name="T40" fmla="*/ 601 w 896"/>
                <a:gd name="T41" fmla="*/ 30 h 869"/>
                <a:gd name="T42" fmla="*/ 631 w 896"/>
                <a:gd name="T43" fmla="*/ 39 h 869"/>
                <a:gd name="T44" fmla="*/ 654 w 896"/>
                <a:gd name="T45" fmla="*/ 59 h 869"/>
                <a:gd name="T46" fmla="*/ 669 w 896"/>
                <a:gd name="T47" fmla="*/ 87 h 869"/>
                <a:gd name="T48" fmla="*/ 672 w 896"/>
                <a:gd name="T49" fmla="*/ 117 h 869"/>
                <a:gd name="T50" fmla="*/ 663 w 896"/>
                <a:gd name="T51" fmla="*/ 146 h 869"/>
                <a:gd name="T52" fmla="*/ 644 w 896"/>
                <a:gd name="T53" fmla="*/ 169 h 869"/>
                <a:gd name="T54" fmla="*/ 597 w 896"/>
                <a:gd name="T55" fmla="*/ 194 h 869"/>
                <a:gd name="T56" fmla="*/ 491 w 896"/>
                <a:gd name="T57" fmla="*/ 228 h 869"/>
                <a:gd name="T58" fmla="*/ 490 w 896"/>
                <a:gd name="T59" fmla="*/ 159 h 869"/>
                <a:gd name="T60" fmla="*/ 523 w 896"/>
                <a:gd name="T61" fmla="*/ 74 h 869"/>
                <a:gd name="T62" fmla="*/ 537 w 896"/>
                <a:gd name="T63" fmla="*/ 53 h 869"/>
                <a:gd name="T64" fmla="*/ 328 w 896"/>
                <a:gd name="T65" fmla="*/ 421 h 869"/>
                <a:gd name="T66" fmla="*/ 568 w 896"/>
                <a:gd name="T67" fmla="*/ 271 h 869"/>
                <a:gd name="T68" fmla="*/ 554 w 896"/>
                <a:gd name="T69" fmla="*/ 241 h 869"/>
                <a:gd name="T70" fmla="*/ 650 w 896"/>
                <a:gd name="T71" fmla="*/ 201 h 869"/>
                <a:gd name="T72" fmla="*/ 684 w 896"/>
                <a:gd name="T73" fmla="*/ 169 h 869"/>
                <a:gd name="T74" fmla="*/ 700 w 896"/>
                <a:gd name="T75" fmla="*/ 130 h 869"/>
                <a:gd name="T76" fmla="*/ 700 w 896"/>
                <a:gd name="T77" fmla="*/ 88 h 869"/>
                <a:gd name="T78" fmla="*/ 684 w 896"/>
                <a:gd name="T79" fmla="*/ 50 h 869"/>
                <a:gd name="T80" fmla="*/ 653 w 896"/>
                <a:gd name="T81" fmla="*/ 18 h 869"/>
                <a:gd name="T82" fmla="*/ 615 w 896"/>
                <a:gd name="T83" fmla="*/ 2 h 869"/>
                <a:gd name="T84" fmla="*/ 572 w 896"/>
                <a:gd name="T85" fmla="*/ 2 h 869"/>
                <a:gd name="T86" fmla="*/ 533 w 896"/>
                <a:gd name="T87" fmla="*/ 18 h 869"/>
                <a:gd name="T88" fmla="*/ 506 w 896"/>
                <a:gd name="T89" fmla="*/ 44 h 869"/>
                <a:gd name="T90" fmla="*/ 477 w 896"/>
                <a:gd name="T91" fmla="*/ 103 h 869"/>
                <a:gd name="T92" fmla="*/ 447 w 896"/>
                <a:gd name="T93" fmla="*/ 198 h 869"/>
                <a:gd name="T94" fmla="*/ 416 w 896"/>
                <a:gd name="T95" fmla="*/ 103 h 869"/>
                <a:gd name="T96" fmla="*/ 387 w 896"/>
                <a:gd name="T97" fmla="*/ 44 h 869"/>
                <a:gd name="T98" fmla="*/ 360 w 896"/>
                <a:gd name="T99" fmla="*/ 18 h 869"/>
                <a:gd name="T100" fmla="*/ 321 w 896"/>
                <a:gd name="T101" fmla="*/ 2 h 869"/>
                <a:gd name="T102" fmla="*/ 278 w 896"/>
                <a:gd name="T103" fmla="*/ 2 h 869"/>
                <a:gd name="T104" fmla="*/ 240 w 896"/>
                <a:gd name="T105" fmla="*/ 18 h 869"/>
                <a:gd name="T106" fmla="*/ 209 w 896"/>
                <a:gd name="T107" fmla="*/ 50 h 869"/>
                <a:gd name="T108" fmla="*/ 193 w 896"/>
                <a:gd name="T109" fmla="*/ 88 h 869"/>
                <a:gd name="T110" fmla="*/ 193 w 896"/>
                <a:gd name="T111" fmla="*/ 130 h 869"/>
                <a:gd name="T112" fmla="*/ 209 w 896"/>
                <a:gd name="T113" fmla="*/ 169 h 869"/>
                <a:gd name="T114" fmla="*/ 243 w 896"/>
                <a:gd name="T115" fmla="*/ 201 h 869"/>
                <a:gd name="T116" fmla="*/ 339 w 896"/>
                <a:gd name="T117" fmla="*/ 241 h 869"/>
                <a:gd name="T118" fmla="*/ 30 w 896"/>
                <a:gd name="T119" fmla="*/ 869 h 869"/>
                <a:gd name="T120" fmla="*/ 896 w 896"/>
                <a:gd name="T121" fmla="*/ 241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6" h="869">
                  <a:moveTo>
                    <a:pt x="867" y="391"/>
                  </a:moveTo>
                  <a:lnTo>
                    <a:pt x="598" y="391"/>
                  </a:lnTo>
                  <a:lnTo>
                    <a:pt x="598" y="271"/>
                  </a:lnTo>
                  <a:lnTo>
                    <a:pt x="867" y="271"/>
                  </a:lnTo>
                  <a:lnTo>
                    <a:pt x="867" y="391"/>
                  </a:lnTo>
                  <a:close/>
                  <a:moveTo>
                    <a:pt x="837" y="839"/>
                  </a:moveTo>
                  <a:lnTo>
                    <a:pt x="598" y="839"/>
                  </a:lnTo>
                  <a:lnTo>
                    <a:pt x="598" y="421"/>
                  </a:lnTo>
                  <a:lnTo>
                    <a:pt x="837" y="421"/>
                  </a:lnTo>
                  <a:lnTo>
                    <a:pt x="837" y="839"/>
                  </a:lnTo>
                  <a:close/>
                  <a:moveTo>
                    <a:pt x="60" y="421"/>
                  </a:moveTo>
                  <a:lnTo>
                    <a:pt x="298" y="421"/>
                  </a:lnTo>
                  <a:lnTo>
                    <a:pt x="298" y="839"/>
                  </a:lnTo>
                  <a:lnTo>
                    <a:pt x="60" y="839"/>
                  </a:lnTo>
                  <a:lnTo>
                    <a:pt x="60" y="421"/>
                  </a:lnTo>
                  <a:close/>
                  <a:moveTo>
                    <a:pt x="30" y="271"/>
                  </a:moveTo>
                  <a:lnTo>
                    <a:pt x="298" y="271"/>
                  </a:lnTo>
                  <a:lnTo>
                    <a:pt x="298" y="391"/>
                  </a:lnTo>
                  <a:lnTo>
                    <a:pt x="30" y="391"/>
                  </a:lnTo>
                  <a:lnTo>
                    <a:pt x="30" y="271"/>
                  </a:lnTo>
                  <a:close/>
                  <a:moveTo>
                    <a:pt x="244" y="53"/>
                  </a:moveTo>
                  <a:lnTo>
                    <a:pt x="249" y="47"/>
                  </a:lnTo>
                  <a:lnTo>
                    <a:pt x="256" y="43"/>
                  </a:lnTo>
                  <a:lnTo>
                    <a:pt x="262" y="39"/>
                  </a:lnTo>
                  <a:lnTo>
                    <a:pt x="270" y="36"/>
                  </a:lnTo>
                  <a:lnTo>
                    <a:pt x="277" y="33"/>
                  </a:lnTo>
                  <a:lnTo>
                    <a:pt x="284" y="31"/>
                  </a:lnTo>
                  <a:lnTo>
                    <a:pt x="292" y="30"/>
                  </a:lnTo>
                  <a:lnTo>
                    <a:pt x="299" y="30"/>
                  </a:lnTo>
                  <a:lnTo>
                    <a:pt x="308" y="30"/>
                  </a:lnTo>
                  <a:lnTo>
                    <a:pt x="316" y="31"/>
                  </a:lnTo>
                  <a:lnTo>
                    <a:pt x="323" y="33"/>
                  </a:lnTo>
                  <a:lnTo>
                    <a:pt x="330" y="36"/>
                  </a:lnTo>
                  <a:lnTo>
                    <a:pt x="337" y="39"/>
                  </a:lnTo>
                  <a:lnTo>
                    <a:pt x="344" y="43"/>
                  </a:lnTo>
                  <a:lnTo>
                    <a:pt x="350" y="47"/>
                  </a:lnTo>
                  <a:lnTo>
                    <a:pt x="356" y="53"/>
                  </a:lnTo>
                  <a:lnTo>
                    <a:pt x="360" y="58"/>
                  </a:lnTo>
                  <a:lnTo>
                    <a:pt x="365" y="66"/>
                  </a:lnTo>
                  <a:lnTo>
                    <a:pt x="370" y="74"/>
                  </a:lnTo>
                  <a:lnTo>
                    <a:pt x="374" y="84"/>
                  </a:lnTo>
                  <a:lnTo>
                    <a:pt x="384" y="106"/>
                  </a:lnTo>
                  <a:lnTo>
                    <a:pt x="394" y="131"/>
                  </a:lnTo>
                  <a:lnTo>
                    <a:pt x="403" y="159"/>
                  </a:lnTo>
                  <a:lnTo>
                    <a:pt x="412" y="185"/>
                  </a:lnTo>
                  <a:lnTo>
                    <a:pt x="419" y="212"/>
                  </a:lnTo>
                  <a:lnTo>
                    <a:pt x="426" y="236"/>
                  </a:lnTo>
                  <a:lnTo>
                    <a:pt x="402" y="228"/>
                  </a:lnTo>
                  <a:lnTo>
                    <a:pt x="376" y="221"/>
                  </a:lnTo>
                  <a:lnTo>
                    <a:pt x="349" y="212"/>
                  </a:lnTo>
                  <a:lnTo>
                    <a:pt x="322" y="204"/>
                  </a:lnTo>
                  <a:lnTo>
                    <a:pt x="296" y="194"/>
                  </a:lnTo>
                  <a:lnTo>
                    <a:pt x="274" y="184"/>
                  </a:lnTo>
                  <a:lnTo>
                    <a:pt x="264" y="179"/>
                  </a:lnTo>
                  <a:lnTo>
                    <a:pt x="256" y="175"/>
                  </a:lnTo>
                  <a:lnTo>
                    <a:pt x="249" y="170"/>
                  </a:lnTo>
                  <a:lnTo>
                    <a:pt x="244" y="165"/>
                  </a:lnTo>
                  <a:lnTo>
                    <a:pt x="239" y="160"/>
                  </a:lnTo>
                  <a:lnTo>
                    <a:pt x="233" y="153"/>
                  </a:lnTo>
                  <a:lnTo>
                    <a:pt x="230" y="146"/>
                  </a:lnTo>
                  <a:lnTo>
                    <a:pt x="227" y="139"/>
                  </a:lnTo>
                  <a:lnTo>
                    <a:pt x="224" y="132"/>
                  </a:lnTo>
                  <a:lnTo>
                    <a:pt x="222" y="124"/>
                  </a:lnTo>
                  <a:lnTo>
                    <a:pt x="221" y="117"/>
                  </a:lnTo>
                  <a:lnTo>
                    <a:pt x="220" y="109"/>
                  </a:lnTo>
                  <a:lnTo>
                    <a:pt x="221" y="102"/>
                  </a:lnTo>
                  <a:lnTo>
                    <a:pt x="222" y="94"/>
                  </a:lnTo>
                  <a:lnTo>
                    <a:pt x="224" y="87"/>
                  </a:lnTo>
                  <a:lnTo>
                    <a:pt x="227" y="79"/>
                  </a:lnTo>
                  <a:lnTo>
                    <a:pt x="230" y="72"/>
                  </a:lnTo>
                  <a:lnTo>
                    <a:pt x="233" y="66"/>
                  </a:lnTo>
                  <a:lnTo>
                    <a:pt x="239" y="59"/>
                  </a:lnTo>
                  <a:lnTo>
                    <a:pt x="244" y="53"/>
                  </a:lnTo>
                  <a:lnTo>
                    <a:pt x="244" y="53"/>
                  </a:lnTo>
                  <a:close/>
                  <a:moveTo>
                    <a:pt x="537" y="53"/>
                  </a:moveTo>
                  <a:lnTo>
                    <a:pt x="543" y="47"/>
                  </a:lnTo>
                  <a:lnTo>
                    <a:pt x="550" y="43"/>
                  </a:lnTo>
                  <a:lnTo>
                    <a:pt x="556" y="39"/>
                  </a:lnTo>
                  <a:lnTo>
                    <a:pt x="563" y="36"/>
                  </a:lnTo>
                  <a:lnTo>
                    <a:pt x="570" y="33"/>
                  </a:lnTo>
                  <a:lnTo>
                    <a:pt x="578" y="31"/>
                  </a:lnTo>
                  <a:lnTo>
                    <a:pt x="585" y="30"/>
                  </a:lnTo>
                  <a:lnTo>
                    <a:pt x="594" y="30"/>
                  </a:lnTo>
                  <a:lnTo>
                    <a:pt x="601" y="30"/>
                  </a:lnTo>
                  <a:lnTo>
                    <a:pt x="609" y="31"/>
                  </a:lnTo>
                  <a:lnTo>
                    <a:pt x="616" y="33"/>
                  </a:lnTo>
                  <a:lnTo>
                    <a:pt x="623" y="36"/>
                  </a:lnTo>
                  <a:lnTo>
                    <a:pt x="631" y="39"/>
                  </a:lnTo>
                  <a:lnTo>
                    <a:pt x="637" y="43"/>
                  </a:lnTo>
                  <a:lnTo>
                    <a:pt x="644" y="47"/>
                  </a:lnTo>
                  <a:lnTo>
                    <a:pt x="649" y="53"/>
                  </a:lnTo>
                  <a:lnTo>
                    <a:pt x="654" y="59"/>
                  </a:lnTo>
                  <a:lnTo>
                    <a:pt x="660" y="66"/>
                  </a:lnTo>
                  <a:lnTo>
                    <a:pt x="663" y="72"/>
                  </a:lnTo>
                  <a:lnTo>
                    <a:pt x="666" y="79"/>
                  </a:lnTo>
                  <a:lnTo>
                    <a:pt x="669" y="87"/>
                  </a:lnTo>
                  <a:lnTo>
                    <a:pt x="671" y="94"/>
                  </a:lnTo>
                  <a:lnTo>
                    <a:pt x="672" y="102"/>
                  </a:lnTo>
                  <a:lnTo>
                    <a:pt x="673" y="109"/>
                  </a:lnTo>
                  <a:lnTo>
                    <a:pt x="672" y="117"/>
                  </a:lnTo>
                  <a:lnTo>
                    <a:pt x="671" y="124"/>
                  </a:lnTo>
                  <a:lnTo>
                    <a:pt x="669" y="132"/>
                  </a:lnTo>
                  <a:lnTo>
                    <a:pt x="666" y="139"/>
                  </a:lnTo>
                  <a:lnTo>
                    <a:pt x="663" y="146"/>
                  </a:lnTo>
                  <a:lnTo>
                    <a:pt x="660" y="153"/>
                  </a:lnTo>
                  <a:lnTo>
                    <a:pt x="654" y="160"/>
                  </a:lnTo>
                  <a:lnTo>
                    <a:pt x="649" y="165"/>
                  </a:lnTo>
                  <a:lnTo>
                    <a:pt x="644" y="169"/>
                  </a:lnTo>
                  <a:lnTo>
                    <a:pt x="637" y="175"/>
                  </a:lnTo>
                  <a:lnTo>
                    <a:pt x="629" y="179"/>
                  </a:lnTo>
                  <a:lnTo>
                    <a:pt x="619" y="184"/>
                  </a:lnTo>
                  <a:lnTo>
                    <a:pt x="597" y="194"/>
                  </a:lnTo>
                  <a:lnTo>
                    <a:pt x="571" y="204"/>
                  </a:lnTo>
                  <a:lnTo>
                    <a:pt x="544" y="212"/>
                  </a:lnTo>
                  <a:lnTo>
                    <a:pt x="517" y="221"/>
                  </a:lnTo>
                  <a:lnTo>
                    <a:pt x="491" y="228"/>
                  </a:lnTo>
                  <a:lnTo>
                    <a:pt x="467" y="236"/>
                  </a:lnTo>
                  <a:lnTo>
                    <a:pt x="474" y="212"/>
                  </a:lnTo>
                  <a:lnTo>
                    <a:pt x="481" y="185"/>
                  </a:lnTo>
                  <a:lnTo>
                    <a:pt x="490" y="159"/>
                  </a:lnTo>
                  <a:lnTo>
                    <a:pt x="499" y="131"/>
                  </a:lnTo>
                  <a:lnTo>
                    <a:pt x="509" y="106"/>
                  </a:lnTo>
                  <a:lnTo>
                    <a:pt x="519" y="84"/>
                  </a:lnTo>
                  <a:lnTo>
                    <a:pt x="523" y="74"/>
                  </a:lnTo>
                  <a:lnTo>
                    <a:pt x="528" y="66"/>
                  </a:lnTo>
                  <a:lnTo>
                    <a:pt x="533" y="58"/>
                  </a:lnTo>
                  <a:lnTo>
                    <a:pt x="537" y="53"/>
                  </a:lnTo>
                  <a:lnTo>
                    <a:pt x="537" y="53"/>
                  </a:lnTo>
                  <a:close/>
                  <a:moveTo>
                    <a:pt x="568" y="421"/>
                  </a:moveTo>
                  <a:lnTo>
                    <a:pt x="568" y="839"/>
                  </a:lnTo>
                  <a:lnTo>
                    <a:pt x="328" y="839"/>
                  </a:lnTo>
                  <a:lnTo>
                    <a:pt x="328" y="421"/>
                  </a:lnTo>
                  <a:lnTo>
                    <a:pt x="568" y="421"/>
                  </a:lnTo>
                  <a:close/>
                  <a:moveTo>
                    <a:pt x="328" y="391"/>
                  </a:moveTo>
                  <a:lnTo>
                    <a:pt x="328" y="271"/>
                  </a:lnTo>
                  <a:lnTo>
                    <a:pt x="568" y="271"/>
                  </a:lnTo>
                  <a:lnTo>
                    <a:pt x="568" y="391"/>
                  </a:lnTo>
                  <a:lnTo>
                    <a:pt x="328" y="391"/>
                  </a:lnTo>
                  <a:close/>
                  <a:moveTo>
                    <a:pt x="896" y="241"/>
                  </a:moveTo>
                  <a:lnTo>
                    <a:pt x="554" y="241"/>
                  </a:lnTo>
                  <a:lnTo>
                    <a:pt x="589" y="228"/>
                  </a:lnTo>
                  <a:lnTo>
                    <a:pt x="622" y="215"/>
                  </a:lnTo>
                  <a:lnTo>
                    <a:pt x="637" y="208"/>
                  </a:lnTo>
                  <a:lnTo>
                    <a:pt x="650" y="201"/>
                  </a:lnTo>
                  <a:lnTo>
                    <a:pt x="662" y="194"/>
                  </a:lnTo>
                  <a:lnTo>
                    <a:pt x="671" y="186"/>
                  </a:lnTo>
                  <a:lnTo>
                    <a:pt x="678" y="178"/>
                  </a:lnTo>
                  <a:lnTo>
                    <a:pt x="684" y="169"/>
                  </a:lnTo>
                  <a:lnTo>
                    <a:pt x="690" y="160"/>
                  </a:lnTo>
                  <a:lnTo>
                    <a:pt x="694" y="150"/>
                  </a:lnTo>
                  <a:lnTo>
                    <a:pt x="697" y="140"/>
                  </a:lnTo>
                  <a:lnTo>
                    <a:pt x="700" y="130"/>
                  </a:lnTo>
                  <a:lnTo>
                    <a:pt x="702" y="120"/>
                  </a:lnTo>
                  <a:lnTo>
                    <a:pt x="703" y="109"/>
                  </a:lnTo>
                  <a:lnTo>
                    <a:pt x="702" y="99"/>
                  </a:lnTo>
                  <a:lnTo>
                    <a:pt x="700" y="88"/>
                  </a:lnTo>
                  <a:lnTo>
                    <a:pt x="697" y="78"/>
                  </a:lnTo>
                  <a:lnTo>
                    <a:pt x="694" y="68"/>
                  </a:lnTo>
                  <a:lnTo>
                    <a:pt x="690" y="58"/>
                  </a:lnTo>
                  <a:lnTo>
                    <a:pt x="684" y="50"/>
                  </a:lnTo>
                  <a:lnTo>
                    <a:pt x="678" y="40"/>
                  </a:lnTo>
                  <a:lnTo>
                    <a:pt x="671" y="32"/>
                  </a:lnTo>
                  <a:lnTo>
                    <a:pt x="662" y="25"/>
                  </a:lnTo>
                  <a:lnTo>
                    <a:pt x="653" y="18"/>
                  </a:lnTo>
                  <a:lnTo>
                    <a:pt x="645" y="13"/>
                  </a:lnTo>
                  <a:lnTo>
                    <a:pt x="635" y="8"/>
                  </a:lnTo>
                  <a:lnTo>
                    <a:pt x="625" y="5"/>
                  </a:lnTo>
                  <a:lnTo>
                    <a:pt x="615" y="2"/>
                  </a:lnTo>
                  <a:lnTo>
                    <a:pt x="604" y="0"/>
                  </a:lnTo>
                  <a:lnTo>
                    <a:pt x="594" y="0"/>
                  </a:lnTo>
                  <a:lnTo>
                    <a:pt x="582" y="0"/>
                  </a:lnTo>
                  <a:lnTo>
                    <a:pt x="572" y="2"/>
                  </a:lnTo>
                  <a:lnTo>
                    <a:pt x="561" y="5"/>
                  </a:lnTo>
                  <a:lnTo>
                    <a:pt x="552" y="8"/>
                  </a:lnTo>
                  <a:lnTo>
                    <a:pt x="542" y="13"/>
                  </a:lnTo>
                  <a:lnTo>
                    <a:pt x="533" y="18"/>
                  </a:lnTo>
                  <a:lnTo>
                    <a:pt x="524" y="25"/>
                  </a:lnTo>
                  <a:lnTo>
                    <a:pt x="515" y="32"/>
                  </a:lnTo>
                  <a:lnTo>
                    <a:pt x="511" y="38"/>
                  </a:lnTo>
                  <a:lnTo>
                    <a:pt x="506" y="44"/>
                  </a:lnTo>
                  <a:lnTo>
                    <a:pt x="502" y="52"/>
                  </a:lnTo>
                  <a:lnTo>
                    <a:pt x="496" y="61"/>
                  </a:lnTo>
                  <a:lnTo>
                    <a:pt x="487" y="81"/>
                  </a:lnTo>
                  <a:lnTo>
                    <a:pt x="477" y="103"/>
                  </a:lnTo>
                  <a:lnTo>
                    <a:pt x="468" y="128"/>
                  </a:lnTo>
                  <a:lnTo>
                    <a:pt x="461" y="152"/>
                  </a:lnTo>
                  <a:lnTo>
                    <a:pt x="453" y="176"/>
                  </a:lnTo>
                  <a:lnTo>
                    <a:pt x="447" y="198"/>
                  </a:lnTo>
                  <a:lnTo>
                    <a:pt x="440" y="176"/>
                  </a:lnTo>
                  <a:lnTo>
                    <a:pt x="432" y="152"/>
                  </a:lnTo>
                  <a:lnTo>
                    <a:pt x="425" y="128"/>
                  </a:lnTo>
                  <a:lnTo>
                    <a:pt x="416" y="103"/>
                  </a:lnTo>
                  <a:lnTo>
                    <a:pt x="406" y="81"/>
                  </a:lnTo>
                  <a:lnTo>
                    <a:pt x="397" y="61"/>
                  </a:lnTo>
                  <a:lnTo>
                    <a:pt x="391" y="52"/>
                  </a:lnTo>
                  <a:lnTo>
                    <a:pt x="387" y="44"/>
                  </a:lnTo>
                  <a:lnTo>
                    <a:pt x="382" y="38"/>
                  </a:lnTo>
                  <a:lnTo>
                    <a:pt x="378" y="32"/>
                  </a:lnTo>
                  <a:lnTo>
                    <a:pt x="369" y="25"/>
                  </a:lnTo>
                  <a:lnTo>
                    <a:pt x="360" y="18"/>
                  </a:lnTo>
                  <a:lnTo>
                    <a:pt x="351" y="13"/>
                  </a:lnTo>
                  <a:lnTo>
                    <a:pt x="342" y="8"/>
                  </a:lnTo>
                  <a:lnTo>
                    <a:pt x="332" y="5"/>
                  </a:lnTo>
                  <a:lnTo>
                    <a:pt x="321" y="2"/>
                  </a:lnTo>
                  <a:lnTo>
                    <a:pt x="311" y="0"/>
                  </a:lnTo>
                  <a:lnTo>
                    <a:pt x="299" y="0"/>
                  </a:lnTo>
                  <a:lnTo>
                    <a:pt x="289" y="0"/>
                  </a:lnTo>
                  <a:lnTo>
                    <a:pt x="278" y="2"/>
                  </a:lnTo>
                  <a:lnTo>
                    <a:pt x="268" y="5"/>
                  </a:lnTo>
                  <a:lnTo>
                    <a:pt x="258" y="8"/>
                  </a:lnTo>
                  <a:lnTo>
                    <a:pt x="248" y="13"/>
                  </a:lnTo>
                  <a:lnTo>
                    <a:pt x="240" y="18"/>
                  </a:lnTo>
                  <a:lnTo>
                    <a:pt x="231" y="25"/>
                  </a:lnTo>
                  <a:lnTo>
                    <a:pt x="222" y="32"/>
                  </a:lnTo>
                  <a:lnTo>
                    <a:pt x="215" y="40"/>
                  </a:lnTo>
                  <a:lnTo>
                    <a:pt x="209" y="50"/>
                  </a:lnTo>
                  <a:lnTo>
                    <a:pt x="203" y="58"/>
                  </a:lnTo>
                  <a:lnTo>
                    <a:pt x="199" y="68"/>
                  </a:lnTo>
                  <a:lnTo>
                    <a:pt x="196" y="78"/>
                  </a:lnTo>
                  <a:lnTo>
                    <a:pt x="193" y="88"/>
                  </a:lnTo>
                  <a:lnTo>
                    <a:pt x="191" y="99"/>
                  </a:lnTo>
                  <a:lnTo>
                    <a:pt x="190" y="109"/>
                  </a:lnTo>
                  <a:lnTo>
                    <a:pt x="191" y="120"/>
                  </a:lnTo>
                  <a:lnTo>
                    <a:pt x="193" y="130"/>
                  </a:lnTo>
                  <a:lnTo>
                    <a:pt x="196" y="140"/>
                  </a:lnTo>
                  <a:lnTo>
                    <a:pt x="199" y="150"/>
                  </a:lnTo>
                  <a:lnTo>
                    <a:pt x="203" y="160"/>
                  </a:lnTo>
                  <a:lnTo>
                    <a:pt x="209" y="169"/>
                  </a:lnTo>
                  <a:lnTo>
                    <a:pt x="215" y="178"/>
                  </a:lnTo>
                  <a:lnTo>
                    <a:pt x="222" y="186"/>
                  </a:lnTo>
                  <a:lnTo>
                    <a:pt x="231" y="194"/>
                  </a:lnTo>
                  <a:lnTo>
                    <a:pt x="243" y="201"/>
                  </a:lnTo>
                  <a:lnTo>
                    <a:pt x="256" y="208"/>
                  </a:lnTo>
                  <a:lnTo>
                    <a:pt x="271" y="215"/>
                  </a:lnTo>
                  <a:lnTo>
                    <a:pt x="304" y="228"/>
                  </a:lnTo>
                  <a:lnTo>
                    <a:pt x="339" y="241"/>
                  </a:lnTo>
                  <a:lnTo>
                    <a:pt x="0" y="241"/>
                  </a:lnTo>
                  <a:lnTo>
                    <a:pt x="0" y="421"/>
                  </a:lnTo>
                  <a:lnTo>
                    <a:pt x="30" y="421"/>
                  </a:lnTo>
                  <a:lnTo>
                    <a:pt x="30" y="869"/>
                  </a:lnTo>
                  <a:lnTo>
                    <a:pt x="867" y="869"/>
                  </a:lnTo>
                  <a:lnTo>
                    <a:pt x="867" y="421"/>
                  </a:lnTo>
                  <a:lnTo>
                    <a:pt x="896" y="421"/>
                  </a:lnTo>
                  <a:lnTo>
                    <a:pt x="896" y="241"/>
                  </a:lnTo>
                  <a:close/>
                </a:path>
              </a:pathLst>
            </a:custGeom>
            <a:solidFill>
              <a:srgbClr val="8AAAE5"/>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0" name="Isosceles Triangle 89"/>
          <p:cNvSpPr/>
          <p:nvPr/>
        </p:nvSpPr>
        <p:spPr>
          <a:xfrm rot="10800000">
            <a:off x="8923670" y="5937572"/>
            <a:ext cx="230661" cy="180770"/>
          </a:xfrm>
          <a:prstGeom prst="triangle">
            <a:avLst/>
          </a:prstGeom>
          <a:solidFill>
            <a:schemeClr val="bg1"/>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Isosceles Triangle 90"/>
          <p:cNvSpPr/>
          <p:nvPr/>
        </p:nvSpPr>
        <p:spPr>
          <a:xfrm rot="10800000">
            <a:off x="8998578" y="6026574"/>
            <a:ext cx="80845" cy="63359"/>
          </a:xfrm>
          <a:prstGeom prst="triangle">
            <a:avLst/>
          </a:pr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TextBox 80"/>
          <p:cNvSpPr txBox="1"/>
          <p:nvPr/>
        </p:nvSpPr>
        <p:spPr>
          <a:xfrm>
            <a:off x="8770354" y="6177771"/>
            <a:ext cx="537293"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75000"/>
                    <a:lumOff val="25000"/>
                  </a:schemeClr>
                </a:solidFill>
              </a:rPr>
              <a:t>2010</a:t>
            </a:r>
          </a:p>
        </p:txBody>
      </p:sp>
      <p:cxnSp>
        <p:nvCxnSpPr>
          <p:cNvPr id="82" name="Straight Connector 81"/>
          <p:cNvCxnSpPr/>
          <p:nvPr/>
        </p:nvCxnSpPr>
        <p:spPr>
          <a:xfrm flipV="1">
            <a:off x="9039000" y="4977183"/>
            <a:ext cx="0" cy="958008"/>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8072577" y="4168281"/>
            <a:ext cx="1932846" cy="738664"/>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10000 SQ FT</a:t>
            </a:r>
          </a:p>
          <a:p>
            <a:pPr algn="ctr"/>
            <a:r>
              <a:rPr lang="en-US" sz="1200" dirty="0">
                <a:solidFill>
                  <a:schemeClr val="tx1">
                    <a:lumMod val="95000"/>
                    <a:lumOff val="5000"/>
                  </a:schemeClr>
                </a:solidFill>
              </a:rPr>
              <a:t>Added 10000 sq. ft. of new shop floor area in existing plant.</a:t>
            </a:r>
          </a:p>
        </p:txBody>
      </p:sp>
      <p:cxnSp>
        <p:nvCxnSpPr>
          <p:cNvPr id="46" name="Straight Connector 45"/>
          <p:cNvCxnSpPr/>
          <p:nvPr/>
        </p:nvCxnSpPr>
        <p:spPr>
          <a:xfrm flipV="1">
            <a:off x="3299269" y="3386287"/>
            <a:ext cx="0" cy="373177"/>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7034896" y="3386289"/>
            <a:ext cx="0" cy="373177"/>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1330337" y="3741161"/>
            <a:ext cx="0" cy="382897"/>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5215441" y="3741161"/>
            <a:ext cx="0" cy="382897"/>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9039000" y="3741161"/>
            <a:ext cx="0" cy="382897"/>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sp>
        <p:nvSpPr>
          <p:cNvPr id="86" name="Diamond 85"/>
          <p:cNvSpPr/>
          <p:nvPr/>
        </p:nvSpPr>
        <p:spPr>
          <a:xfrm>
            <a:off x="8520186" y="2713696"/>
            <a:ext cx="1037628" cy="1037628"/>
          </a:xfrm>
          <a:prstGeom prst="diamond">
            <a:avLst/>
          </a:prstGeom>
          <a:noFill/>
          <a:ln w="127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a:extLst>
              <a:ext uri="{FF2B5EF4-FFF2-40B4-BE49-F238E27FC236}">
                <a16:creationId xmlns:a16="http://schemas.microsoft.com/office/drawing/2014/main" id="{FFF83545-AEAD-43D3-A7A5-3637BF01573B}"/>
              </a:ext>
            </a:extLst>
          </p:cNvPr>
          <p:cNvSpPr/>
          <p:nvPr/>
        </p:nvSpPr>
        <p:spPr>
          <a:xfrm rot="10800000">
            <a:off x="10703185" y="5931712"/>
            <a:ext cx="230661" cy="180770"/>
          </a:xfrm>
          <a:prstGeom prst="triangle">
            <a:avLst/>
          </a:prstGeom>
          <a:solidFill>
            <a:schemeClr val="bg1"/>
          </a:solidFill>
          <a:ln>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a:extLst>
              <a:ext uri="{FF2B5EF4-FFF2-40B4-BE49-F238E27FC236}">
                <a16:creationId xmlns:a16="http://schemas.microsoft.com/office/drawing/2014/main" id="{B547B732-5498-4BC6-A9D2-5E9C030CD018}"/>
              </a:ext>
            </a:extLst>
          </p:cNvPr>
          <p:cNvSpPr/>
          <p:nvPr/>
        </p:nvSpPr>
        <p:spPr>
          <a:xfrm rot="10800000">
            <a:off x="10778093" y="6020714"/>
            <a:ext cx="80845" cy="63359"/>
          </a:xfrm>
          <a:prstGeom prst="triangle">
            <a:avLst/>
          </a:pr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a:extLst>
              <a:ext uri="{FF2B5EF4-FFF2-40B4-BE49-F238E27FC236}">
                <a16:creationId xmlns:a16="http://schemas.microsoft.com/office/drawing/2014/main" id="{243A8836-4FC6-4A47-AF91-C83A57A31877}"/>
              </a:ext>
            </a:extLst>
          </p:cNvPr>
          <p:cNvSpPr txBox="1"/>
          <p:nvPr/>
        </p:nvSpPr>
        <p:spPr>
          <a:xfrm>
            <a:off x="10549869" y="6171911"/>
            <a:ext cx="537293"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75000"/>
                    <a:lumOff val="25000"/>
                  </a:schemeClr>
                </a:solidFill>
              </a:rPr>
              <a:t>2020</a:t>
            </a:r>
          </a:p>
        </p:txBody>
      </p:sp>
      <p:cxnSp>
        <p:nvCxnSpPr>
          <p:cNvPr id="69" name="Straight Connector 68">
            <a:extLst>
              <a:ext uri="{FF2B5EF4-FFF2-40B4-BE49-F238E27FC236}">
                <a16:creationId xmlns:a16="http://schemas.microsoft.com/office/drawing/2014/main" id="{CFBAF2C2-D364-4F9B-AD97-1768101C340D}"/>
              </a:ext>
            </a:extLst>
          </p:cNvPr>
          <p:cNvCxnSpPr/>
          <p:nvPr/>
        </p:nvCxnSpPr>
        <p:spPr>
          <a:xfrm flipV="1">
            <a:off x="10818515" y="4548149"/>
            <a:ext cx="0" cy="1381182"/>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40199C5C-6083-4084-A6AA-5618268B84B8}"/>
              </a:ext>
            </a:extLst>
          </p:cNvPr>
          <p:cNvSpPr txBox="1"/>
          <p:nvPr/>
        </p:nvSpPr>
        <p:spPr>
          <a:xfrm>
            <a:off x="9852092" y="3781546"/>
            <a:ext cx="1932846" cy="553998"/>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NEW ADDITIONS</a:t>
            </a:r>
          </a:p>
          <a:p>
            <a:pPr algn="ctr"/>
            <a:r>
              <a:rPr lang="en-US" sz="1200" dirty="0">
                <a:solidFill>
                  <a:schemeClr val="tx1">
                    <a:lumMod val="95000"/>
                    <a:lumOff val="5000"/>
                  </a:schemeClr>
                </a:solidFill>
              </a:rPr>
              <a:t>Added our 11</a:t>
            </a:r>
            <a:r>
              <a:rPr lang="en-US" sz="1200" baseline="30000" dirty="0">
                <a:solidFill>
                  <a:schemeClr val="tx1">
                    <a:lumMod val="95000"/>
                    <a:lumOff val="5000"/>
                  </a:schemeClr>
                </a:solidFill>
              </a:rPr>
              <a:t>th</a:t>
            </a:r>
            <a:r>
              <a:rPr lang="en-US" sz="1200" dirty="0">
                <a:solidFill>
                  <a:schemeClr val="tx1">
                    <a:lumMod val="95000"/>
                    <a:lumOff val="5000"/>
                  </a:schemeClr>
                </a:solidFill>
              </a:rPr>
              <a:t> CNC Turning Machine to our </a:t>
            </a:r>
            <a:r>
              <a:rPr lang="en-US" sz="1200">
                <a:solidFill>
                  <a:schemeClr val="tx1">
                    <a:lumMod val="95000"/>
                    <a:lumOff val="5000"/>
                  </a:schemeClr>
                </a:solidFill>
              </a:rPr>
              <a:t>shop floor. </a:t>
            </a:r>
            <a:endParaRPr lang="en-US" sz="1200" dirty="0">
              <a:solidFill>
                <a:schemeClr val="tx1">
                  <a:lumMod val="95000"/>
                  <a:lumOff val="5000"/>
                </a:schemeClr>
              </a:solidFill>
            </a:endParaRPr>
          </a:p>
        </p:txBody>
      </p:sp>
      <p:sp>
        <p:nvSpPr>
          <p:cNvPr id="72" name="Diamond 71">
            <a:extLst>
              <a:ext uri="{FF2B5EF4-FFF2-40B4-BE49-F238E27FC236}">
                <a16:creationId xmlns:a16="http://schemas.microsoft.com/office/drawing/2014/main" id="{77CF81FB-4097-488E-9CB9-5FCBE147848B}"/>
              </a:ext>
            </a:extLst>
          </p:cNvPr>
          <p:cNvSpPr/>
          <p:nvPr/>
        </p:nvSpPr>
        <p:spPr>
          <a:xfrm>
            <a:off x="10299701" y="2343241"/>
            <a:ext cx="1037628" cy="1037628"/>
          </a:xfrm>
          <a:prstGeom prst="diamond">
            <a:avLst/>
          </a:prstGeom>
          <a:noFill/>
          <a:ln w="12700">
            <a:solidFill>
              <a:srgbClr val="8AAA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4" name="Straight Connector 73">
            <a:extLst>
              <a:ext uri="{FF2B5EF4-FFF2-40B4-BE49-F238E27FC236}">
                <a16:creationId xmlns:a16="http://schemas.microsoft.com/office/drawing/2014/main" id="{CA9766DC-C7F6-4740-ACD3-FDD0230E3FAB}"/>
              </a:ext>
            </a:extLst>
          </p:cNvPr>
          <p:cNvCxnSpPr/>
          <p:nvPr/>
        </p:nvCxnSpPr>
        <p:spPr>
          <a:xfrm flipV="1">
            <a:off x="10818515" y="3380429"/>
            <a:ext cx="0" cy="373177"/>
          </a:xfrm>
          <a:prstGeom prst="line">
            <a:avLst/>
          </a:prstGeom>
          <a:ln>
            <a:solidFill>
              <a:srgbClr val="8AAAE5"/>
            </a:solidFill>
          </a:ln>
        </p:spPr>
        <p:style>
          <a:lnRef idx="1">
            <a:schemeClr val="accent1"/>
          </a:lnRef>
          <a:fillRef idx="0">
            <a:schemeClr val="accent1"/>
          </a:fillRef>
          <a:effectRef idx="0">
            <a:schemeClr val="accent1"/>
          </a:effectRef>
          <a:fontRef idx="minor">
            <a:schemeClr val="tx1"/>
          </a:fontRef>
        </p:style>
      </p:cxnSp>
      <p:pic>
        <p:nvPicPr>
          <p:cNvPr id="9" name="Graphic 8" descr="Upward trend">
            <a:extLst>
              <a:ext uri="{FF2B5EF4-FFF2-40B4-BE49-F238E27FC236}">
                <a16:creationId xmlns:a16="http://schemas.microsoft.com/office/drawing/2014/main" id="{A7DBF71D-F55F-4918-B055-3F2801BFDC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33098" y="2577442"/>
            <a:ext cx="592007" cy="592007"/>
          </a:xfrm>
          <a:prstGeom prst="rect">
            <a:avLst/>
          </a:prstGeom>
        </p:spPr>
      </p:pic>
      <p:pic>
        <p:nvPicPr>
          <p:cNvPr id="12" name="Graphic 11" descr="City">
            <a:extLst>
              <a:ext uri="{FF2B5EF4-FFF2-40B4-BE49-F238E27FC236}">
                <a16:creationId xmlns:a16="http://schemas.microsoft.com/office/drawing/2014/main" id="{83BA4755-0EB7-45D3-B97D-EC195D0269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20857" y="2909865"/>
            <a:ext cx="643384" cy="643384"/>
          </a:xfrm>
          <a:prstGeom prst="rect">
            <a:avLst/>
          </a:prstGeom>
        </p:spPr>
      </p:pic>
    </p:spTree>
    <p:extLst>
      <p:ext uri="{BB962C8B-B14F-4D97-AF65-F5344CB8AC3E}">
        <p14:creationId xmlns:p14="http://schemas.microsoft.com/office/powerpoint/2010/main" val="39328520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Placeholder 106"/>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t="12590" b="12590"/>
          <a:stretch/>
        </p:blipFill>
        <p:spPr/>
      </p:pic>
      <p:sp>
        <p:nvSpPr>
          <p:cNvPr id="108" name="Rectangle 107"/>
          <p:cNvSpPr/>
          <p:nvPr/>
        </p:nvSpPr>
        <p:spPr>
          <a:xfrm>
            <a:off x="0" y="1"/>
            <a:ext cx="12192000" cy="1204686"/>
          </a:xfrm>
          <a:prstGeom prst="rect">
            <a:avLst/>
          </a:prstGeom>
          <a:solidFill>
            <a:srgbClr val="8AAAE5">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4209188" y="549276"/>
            <a:ext cx="3773624" cy="492443"/>
            <a:chOff x="2551612" y="549275"/>
            <a:chExt cx="3773624" cy="492443"/>
          </a:xfrm>
        </p:grpSpPr>
        <p:sp>
          <p:nvSpPr>
            <p:cNvPr id="16" name="Line 6"/>
            <p:cNvSpPr>
              <a:spLocks noChangeShapeType="1"/>
            </p:cNvSpPr>
            <p:nvPr/>
          </p:nvSpPr>
          <p:spPr bwMode="auto">
            <a:xfrm>
              <a:off x="4256655" y="1024552"/>
              <a:ext cx="363538" cy="0"/>
            </a:xfrm>
            <a:prstGeom prst="line">
              <a:avLst/>
            </a:prstGeom>
            <a:noFill/>
            <a:ln w="571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7" name="TextBox 16"/>
            <p:cNvSpPr txBox="1"/>
            <p:nvPr/>
          </p:nvSpPr>
          <p:spPr>
            <a:xfrm>
              <a:off x="2551612" y="549275"/>
              <a:ext cx="3773624" cy="492443"/>
            </a:xfrm>
            <a:prstGeom prst="rect">
              <a:avLst/>
            </a:prstGeom>
            <a:noFill/>
            <a:ln w="6350">
              <a:noFill/>
              <a:prstDash val="dash"/>
            </a:ln>
          </p:spPr>
          <p:txBody>
            <a:bodyPr wrap="square" lIns="0" tIns="0" rIns="0" bIns="0" rtlCol="0">
              <a:spAutoFit/>
            </a:bodyPr>
            <a:lstStyle/>
            <a:p>
              <a:pPr algn="ctr"/>
              <a:r>
                <a:rPr lang="en-US" sz="3200" b="1" dirty="0">
                  <a:solidFill>
                    <a:schemeClr val="bg1"/>
                  </a:solidFill>
                </a:rPr>
                <a:t>OUR FACILITY</a:t>
              </a:r>
              <a:endParaRPr lang="en-US" sz="3200" dirty="0">
                <a:solidFill>
                  <a:schemeClr val="bg1"/>
                </a:solidFill>
              </a:endParaRPr>
            </a:p>
          </p:txBody>
        </p:sp>
      </p:grpSp>
      <p:sp>
        <p:nvSpPr>
          <p:cNvPr id="18" name="Rectangle 17">
            <a:extLst>
              <a:ext uri="{FF2B5EF4-FFF2-40B4-BE49-F238E27FC236}">
                <a16:creationId xmlns:a16="http://schemas.microsoft.com/office/drawing/2014/main" id="{7E6AA814-6AA8-43D6-A62C-2EAC4C36B5AA}"/>
              </a:ext>
            </a:extLst>
          </p:cNvPr>
          <p:cNvSpPr/>
          <p:nvPr/>
        </p:nvSpPr>
        <p:spPr>
          <a:xfrm>
            <a:off x="501161" y="1651984"/>
            <a:ext cx="2325343" cy="2172670"/>
          </a:xfrm>
          <a:prstGeom prst="rect">
            <a:avLst/>
          </a:prstGeom>
          <a:noFill/>
          <a:ln w="762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9" name="Rectangle 48">
            <a:extLst>
              <a:ext uri="{FF2B5EF4-FFF2-40B4-BE49-F238E27FC236}">
                <a16:creationId xmlns:a16="http://schemas.microsoft.com/office/drawing/2014/main" id="{84C49539-DDD5-4C64-9427-42585E9B28EC}"/>
              </a:ext>
            </a:extLst>
          </p:cNvPr>
          <p:cNvSpPr/>
          <p:nvPr/>
        </p:nvSpPr>
        <p:spPr>
          <a:xfrm>
            <a:off x="495298" y="4354151"/>
            <a:ext cx="2325343" cy="2172670"/>
          </a:xfrm>
          <a:prstGeom prst="rect">
            <a:avLst/>
          </a:prstGeom>
          <a:noFill/>
          <a:ln w="762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0" name="Rectangle 49">
            <a:extLst>
              <a:ext uri="{FF2B5EF4-FFF2-40B4-BE49-F238E27FC236}">
                <a16:creationId xmlns:a16="http://schemas.microsoft.com/office/drawing/2014/main" id="{8A82BEF4-3296-4A56-96C9-16D578DF1278}"/>
              </a:ext>
            </a:extLst>
          </p:cNvPr>
          <p:cNvSpPr/>
          <p:nvPr/>
        </p:nvSpPr>
        <p:spPr>
          <a:xfrm>
            <a:off x="3417275" y="1654915"/>
            <a:ext cx="2325343" cy="2172670"/>
          </a:xfrm>
          <a:prstGeom prst="rect">
            <a:avLst/>
          </a:prstGeom>
          <a:noFill/>
          <a:ln w="762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Rectangle 50">
            <a:extLst>
              <a:ext uri="{FF2B5EF4-FFF2-40B4-BE49-F238E27FC236}">
                <a16:creationId xmlns:a16="http://schemas.microsoft.com/office/drawing/2014/main" id="{7FEB60D4-E6CE-4741-8D58-6C5610EEC62C}"/>
              </a:ext>
            </a:extLst>
          </p:cNvPr>
          <p:cNvSpPr/>
          <p:nvPr/>
        </p:nvSpPr>
        <p:spPr>
          <a:xfrm>
            <a:off x="3411412" y="4357082"/>
            <a:ext cx="2325343" cy="2172670"/>
          </a:xfrm>
          <a:prstGeom prst="rect">
            <a:avLst/>
          </a:prstGeom>
          <a:noFill/>
          <a:ln w="762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Rectangle 51">
            <a:extLst>
              <a:ext uri="{FF2B5EF4-FFF2-40B4-BE49-F238E27FC236}">
                <a16:creationId xmlns:a16="http://schemas.microsoft.com/office/drawing/2014/main" id="{739B867E-CA4A-4A51-AC31-099618D9C32C}"/>
              </a:ext>
            </a:extLst>
          </p:cNvPr>
          <p:cNvSpPr/>
          <p:nvPr/>
        </p:nvSpPr>
        <p:spPr>
          <a:xfrm>
            <a:off x="6333389" y="1649054"/>
            <a:ext cx="2325343" cy="2172670"/>
          </a:xfrm>
          <a:prstGeom prst="rect">
            <a:avLst/>
          </a:prstGeom>
          <a:noFill/>
          <a:ln w="762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Rectangle 52">
            <a:extLst>
              <a:ext uri="{FF2B5EF4-FFF2-40B4-BE49-F238E27FC236}">
                <a16:creationId xmlns:a16="http://schemas.microsoft.com/office/drawing/2014/main" id="{4F1DB603-9025-4D22-97F3-2591454D04F4}"/>
              </a:ext>
            </a:extLst>
          </p:cNvPr>
          <p:cNvSpPr/>
          <p:nvPr/>
        </p:nvSpPr>
        <p:spPr>
          <a:xfrm>
            <a:off x="6327526" y="4351221"/>
            <a:ext cx="2325343" cy="2172670"/>
          </a:xfrm>
          <a:prstGeom prst="rect">
            <a:avLst/>
          </a:prstGeom>
          <a:noFill/>
          <a:ln w="762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Rectangle 54">
            <a:extLst>
              <a:ext uri="{FF2B5EF4-FFF2-40B4-BE49-F238E27FC236}">
                <a16:creationId xmlns:a16="http://schemas.microsoft.com/office/drawing/2014/main" id="{E8837E62-B992-407F-AF62-E4E2DD414CB6}"/>
              </a:ext>
            </a:extLst>
          </p:cNvPr>
          <p:cNvSpPr/>
          <p:nvPr/>
        </p:nvSpPr>
        <p:spPr>
          <a:xfrm>
            <a:off x="9249503" y="1660778"/>
            <a:ext cx="2325343" cy="2172670"/>
          </a:xfrm>
          <a:prstGeom prst="rect">
            <a:avLst/>
          </a:prstGeom>
          <a:noFill/>
          <a:ln w="762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7" name="Rectangle 56">
            <a:extLst>
              <a:ext uri="{FF2B5EF4-FFF2-40B4-BE49-F238E27FC236}">
                <a16:creationId xmlns:a16="http://schemas.microsoft.com/office/drawing/2014/main" id="{D92DFF51-DD91-4A95-8ED3-5B0DAB5F6376}"/>
              </a:ext>
            </a:extLst>
          </p:cNvPr>
          <p:cNvSpPr/>
          <p:nvPr/>
        </p:nvSpPr>
        <p:spPr>
          <a:xfrm>
            <a:off x="9243640" y="4362945"/>
            <a:ext cx="2325343" cy="2172670"/>
          </a:xfrm>
          <a:prstGeom prst="rect">
            <a:avLst/>
          </a:prstGeom>
          <a:noFill/>
          <a:ln w="762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1" name="Picture 20" descr="A picture containing indoor, small, sitting, table&#10;&#10;Description automatically generated">
            <a:extLst>
              <a:ext uri="{FF2B5EF4-FFF2-40B4-BE49-F238E27FC236}">
                <a16:creationId xmlns:a16="http://schemas.microsoft.com/office/drawing/2014/main" id="{BEB557CA-CCB1-4438-B45C-BC0AD4B9F7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3527" y="4439214"/>
            <a:ext cx="2163606" cy="2020132"/>
          </a:xfrm>
          <a:prstGeom prst="rect">
            <a:avLst/>
          </a:prstGeom>
        </p:spPr>
      </p:pic>
      <p:pic>
        <p:nvPicPr>
          <p:cNvPr id="26" name="Picture 25" descr="A room filled with furniture and a bag of luggage&#10;&#10;Description automatically generated">
            <a:extLst>
              <a:ext uri="{FF2B5EF4-FFF2-40B4-BE49-F238E27FC236}">
                <a16:creationId xmlns:a16="http://schemas.microsoft.com/office/drawing/2014/main" id="{82887854-BA57-490B-91F6-110FDA00C87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968" t="11282" r="19936" b="15897"/>
          <a:stretch/>
        </p:blipFill>
        <p:spPr>
          <a:xfrm>
            <a:off x="3501072" y="1734183"/>
            <a:ext cx="2163606" cy="2000354"/>
          </a:xfrm>
          <a:prstGeom prst="rect">
            <a:avLst/>
          </a:prstGeom>
        </p:spPr>
      </p:pic>
      <p:pic>
        <p:nvPicPr>
          <p:cNvPr id="29" name="Picture 28" descr="A group of people standing in a room&#10;&#10;Description automatically generated">
            <a:extLst>
              <a:ext uri="{FF2B5EF4-FFF2-40B4-BE49-F238E27FC236}">
                <a16:creationId xmlns:a16="http://schemas.microsoft.com/office/drawing/2014/main" id="{1D3464E7-C727-4331-8995-16495962337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9583" y="1753961"/>
            <a:ext cx="2163618" cy="2000354"/>
          </a:xfrm>
          <a:prstGeom prst="rect">
            <a:avLst/>
          </a:prstGeom>
        </p:spPr>
      </p:pic>
      <p:pic>
        <p:nvPicPr>
          <p:cNvPr id="31" name="Picture 30" descr="A picture containing indoor, kitchen, object, preparing&#10;&#10;Description automatically generated">
            <a:extLst>
              <a:ext uri="{FF2B5EF4-FFF2-40B4-BE49-F238E27FC236}">
                <a16:creationId xmlns:a16="http://schemas.microsoft.com/office/drawing/2014/main" id="{CD655EED-1EB7-4269-98BD-84F810528902}"/>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33000"/>
                    </a14:imgEffect>
                  </a14:imgLayer>
                </a14:imgProps>
              </a:ext>
              <a:ext uri="{28A0092B-C50C-407E-A947-70E740481C1C}">
                <a14:useLocalDpi xmlns:a14="http://schemas.microsoft.com/office/drawing/2010/main" val="0"/>
              </a:ext>
            </a:extLst>
          </a:blip>
          <a:srcRect l="19590" r="16486"/>
          <a:stretch/>
        </p:blipFill>
        <p:spPr>
          <a:xfrm>
            <a:off x="6423527" y="1753961"/>
            <a:ext cx="2163606" cy="2000354"/>
          </a:xfrm>
          <a:prstGeom prst="rect">
            <a:avLst/>
          </a:prstGeom>
        </p:spPr>
      </p:pic>
      <p:pic>
        <p:nvPicPr>
          <p:cNvPr id="33" name="Picture 32" descr="A picture containing indoor, object, kitchen, table&#10;&#10;Description automatically generated">
            <a:extLst>
              <a:ext uri="{FF2B5EF4-FFF2-40B4-BE49-F238E27FC236}">
                <a16:creationId xmlns:a16="http://schemas.microsoft.com/office/drawing/2014/main" id="{B0545873-BAF2-4B66-B5BC-2F6DA8115B65}"/>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14000"/>
                    </a14:imgEffect>
                  </a14:imgLayer>
                </a14:imgProps>
              </a:ext>
              <a:ext uri="{28A0092B-C50C-407E-A947-70E740481C1C}">
                <a14:useLocalDpi xmlns:a14="http://schemas.microsoft.com/office/drawing/2010/main" val="0"/>
              </a:ext>
            </a:extLst>
          </a:blip>
          <a:srcRect l="17420" r="8404" b="8666"/>
          <a:stretch/>
        </p:blipFill>
        <p:spPr>
          <a:xfrm>
            <a:off x="9340356" y="1753962"/>
            <a:ext cx="2133606" cy="2004048"/>
          </a:xfrm>
          <a:prstGeom prst="rect">
            <a:avLst/>
          </a:prstGeom>
        </p:spPr>
      </p:pic>
      <p:pic>
        <p:nvPicPr>
          <p:cNvPr id="35" name="Picture 34" descr="A picture containing metal, sitting, dirty, wooden&#10;&#10;Description automatically generated">
            <a:extLst>
              <a:ext uri="{FF2B5EF4-FFF2-40B4-BE49-F238E27FC236}">
                <a16:creationId xmlns:a16="http://schemas.microsoft.com/office/drawing/2014/main" id="{BD4A6DBE-AC9B-4F8B-8B32-6270453E754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5812" y="4439214"/>
            <a:ext cx="2167389" cy="2020132"/>
          </a:xfrm>
          <a:prstGeom prst="rect">
            <a:avLst/>
          </a:prstGeom>
        </p:spPr>
      </p:pic>
      <p:pic>
        <p:nvPicPr>
          <p:cNvPr id="42" name="Picture 41" descr="A picture containing cake, table, laying&#10;&#10;Description automatically generated">
            <a:extLst>
              <a:ext uri="{FF2B5EF4-FFF2-40B4-BE49-F238E27FC236}">
                <a16:creationId xmlns:a16="http://schemas.microsoft.com/office/drawing/2014/main" id="{273A0952-2824-4E6A-AC98-5C3B45356CF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5400000">
            <a:off x="3572808" y="4367478"/>
            <a:ext cx="2020131" cy="2163606"/>
          </a:xfrm>
          <a:prstGeom prst="rect">
            <a:avLst/>
          </a:prstGeom>
        </p:spPr>
      </p:pic>
      <p:pic>
        <p:nvPicPr>
          <p:cNvPr id="44" name="Picture 43" descr="A picture containing person, person, kitchen, oven&#10;&#10;Description automatically generated">
            <a:extLst>
              <a:ext uri="{FF2B5EF4-FFF2-40B4-BE49-F238E27FC236}">
                <a16:creationId xmlns:a16="http://schemas.microsoft.com/office/drawing/2014/main" id="{2E753416-DD22-4206-BEF2-A8A685A8F92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9397092" y="4382478"/>
            <a:ext cx="2020132" cy="2133606"/>
          </a:xfrm>
          <a:prstGeom prst="rect">
            <a:avLst/>
          </a:prstGeom>
        </p:spPr>
      </p:pic>
      <p:sp>
        <p:nvSpPr>
          <p:cNvPr id="74" name="TextBox 73">
            <a:extLst>
              <a:ext uri="{FF2B5EF4-FFF2-40B4-BE49-F238E27FC236}">
                <a16:creationId xmlns:a16="http://schemas.microsoft.com/office/drawing/2014/main" id="{C28861CC-0B68-448E-81C3-0BE5D8D3DEC4}"/>
              </a:ext>
            </a:extLst>
          </p:cNvPr>
          <p:cNvSpPr txBox="1"/>
          <p:nvPr/>
        </p:nvSpPr>
        <p:spPr>
          <a:xfrm>
            <a:off x="825737" y="3887717"/>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CNC TURNING CENTERS</a:t>
            </a:r>
            <a:endParaRPr lang="en-US" sz="1200" dirty="0">
              <a:solidFill>
                <a:schemeClr val="tx1">
                  <a:lumMod val="95000"/>
                  <a:lumOff val="5000"/>
                </a:schemeClr>
              </a:solidFill>
            </a:endParaRPr>
          </a:p>
        </p:txBody>
      </p:sp>
      <p:sp>
        <p:nvSpPr>
          <p:cNvPr id="75" name="TextBox 74">
            <a:extLst>
              <a:ext uri="{FF2B5EF4-FFF2-40B4-BE49-F238E27FC236}">
                <a16:creationId xmlns:a16="http://schemas.microsoft.com/office/drawing/2014/main" id="{4DAE6FF4-90D7-471D-AC8A-2072997B1977}"/>
              </a:ext>
            </a:extLst>
          </p:cNvPr>
          <p:cNvSpPr txBox="1"/>
          <p:nvPr/>
        </p:nvSpPr>
        <p:spPr>
          <a:xfrm>
            <a:off x="3598245" y="3881857"/>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VERTICAL MILLING CENTERS</a:t>
            </a:r>
            <a:endParaRPr lang="en-US" sz="1200" dirty="0">
              <a:solidFill>
                <a:schemeClr val="tx1">
                  <a:lumMod val="95000"/>
                  <a:lumOff val="5000"/>
                </a:schemeClr>
              </a:solidFill>
            </a:endParaRPr>
          </a:p>
        </p:txBody>
      </p:sp>
      <p:sp>
        <p:nvSpPr>
          <p:cNvPr id="76" name="TextBox 75">
            <a:extLst>
              <a:ext uri="{FF2B5EF4-FFF2-40B4-BE49-F238E27FC236}">
                <a16:creationId xmlns:a16="http://schemas.microsoft.com/office/drawing/2014/main" id="{20E078B0-F308-4994-956F-8AD3E3279B1A}"/>
              </a:ext>
            </a:extLst>
          </p:cNvPr>
          <p:cNvSpPr txBox="1"/>
          <p:nvPr/>
        </p:nvSpPr>
        <p:spPr>
          <a:xfrm>
            <a:off x="811082" y="6563507"/>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SURFACE GRINDERS</a:t>
            </a:r>
            <a:endParaRPr lang="en-US" sz="1200" dirty="0">
              <a:solidFill>
                <a:schemeClr val="tx1">
                  <a:lumMod val="95000"/>
                  <a:lumOff val="5000"/>
                </a:schemeClr>
              </a:solidFill>
            </a:endParaRPr>
          </a:p>
        </p:txBody>
      </p:sp>
      <p:sp>
        <p:nvSpPr>
          <p:cNvPr id="77" name="TextBox 76">
            <a:extLst>
              <a:ext uri="{FF2B5EF4-FFF2-40B4-BE49-F238E27FC236}">
                <a16:creationId xmlns:a16="http://schemas.microsoft.com/office/drawing/2014/main" id="{3E1F9120-9EBA-41DF-88E6-2E9B530936CF}"/>
              </a:ext>
            </a:extLst>
          </p:cNvPr>
          <p:cNvSpPr txBox="1"/>
          <p:nvPr/>
        </p:nvSpPr>
        <p:spPr>
          <a:xfrm>
            <a:off x="3592379" y="6575231"/>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PLC CONTROLLED BANDSAWS</a:t>
            </a:r>
            <a:endParaRPr lang="en-US" sz="1200" dirty="0">
              <a:solidFill>
                <a:schemeClr val="tx1">
                  <a:lumMod val="95000"/>
                  <a:lumOff val="5000"/>
                </a:schemeClr>
              </a:solidFill>
            </a:endParaRPr>
          </a:p>
        </p:txBody>
      </p:sp>
      <p:sp>
        <p:nvSpPr>
          <p:cNvPr id="78" name="TextBox 77">
            <a:extLst>
              <a:ext uri="{FF2B5EF4-FFF2-40B4-BE49-F238E27FC236}">
                <a16:creationId xmlns:a16="http://schemas.microsoft.com/office/drawing/2014/main" id="{26364687-46FA-4DBB-B849-A395FE5AB159}"/>
              </a:ext>
            </a:extLst>
          </p:cNvPr>
          <p:cNvSpPr txBox="1"/>
          <p:nvPr/>
        </p:nvSpPr>
        <p:spPr>
          <a:xfrm>
            <a:off x="6564179" y="6566437"/>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LAPPING MACHINES</a:t>
            </a:r>
            <a:endParaRPr lang="en-US" sz="1200" dirty="0">
              <a:solidFill>
                <a:schemeClr val="tx1">
                  <a:lumMod val="95000"/>
                  <a:lumOff val="5000"/>
                </a:schemeClr>
              </a:solidFill>
            </a:endParaRPr>
          </a:p>
        </p:txBody>
      </p:sp>
      <p:sp>
        <p:nvSpPr>
          <p:cNvPr id="79" name="TextBox 78">
            <a:extLst>
              <a:ext uri="{FF2B5EF4-FFF2-40B4-BE49-F238E27FC236}">
                <a16:creationId xmlns:a16="http://schemas.microsoft.com/office/drawing/2014/main" id="{F331295D-6294-4324-BB5D-2FB2CA57EAA8}"/>
              </a:ext>
            </a:extLst>
          </p:cNvPr>
          <p:cNvSpPr txBox="1"/>
          <p:nvPr/>
        </p:nvSpPr>
        <p:spPr>
          <a:xfrm>
            <a:off x="9239971" y="6569368"/>
            <a:ext cx="2325343"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MONOCHROMATIC LIGHT TESTING</a:t>
            </a:r>
            <a:endParaRPr lang="en-US" sz="1200" dirty="0">
              <a:solidFill>
                <a:schemeClr val="tx1">
                  <a:lumMod val="95000"/>
                  <a:lumOff val="5000"/>
                </a:schemeClr>
              </a:solidFill>
            </a:endParaRPr>
          </a:p>
        </p:txBody>
      </p:sp>
      <p:sp>
        <p:nvSpPr>
          <p:cNvPr id="80" name="TextBox 79">
            <a:extLst>
              <a:ext uri="{FF2B5EF4-FFF2-40B4-BE49-F238E27FC236}">
                <a16:creationId xmlns:a16="http://schemas.microsoft.com/office/drawing/2014/main" id="{390EFCEE-CD40-4823-934E-453C47342F44}"/>
              </a:ext>
            </a:extLst>
          </p:cNvPr>
          <p:cNvSpPr txBox="1"/>
          <p:nvPr/>
        </p:nvSpPr>
        <p:spPr>
          <a:xfrm>
            <a:off x="9278073" y="3890651"/>
            <a:ext cx="2231059"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UNIVERSAL DRILLING MACHINES</a:t>
            </a:r>
            <a:endParaRPr lang="en-US" sz="1200" dirty="0">
              <a:solidFill>
                <a:schemeClr val="tx1">
                  <a:lumMod val="95000"/>
                  <a:lumOff val="5000"/>
                </a:schemeClr>
              </a:solidFill>
            </a:endParaRPr>
          </a:p>
        </p:txBody>
      </p:sp>
      <p:sp>
        <p:nvSpPr>
          <p:cNvPr id="81" name="TextBox 80">
            <a:extLst>
              <a:ext uri="{FF2B5EF4-FFF2-40B4-BE49-F238E27FC236}">
                <a16:creationId xmlns:a16="http://schemas.microsoft.com/office/drawing/2014/main" id="{E52EA547-2266-47A6-AC12-20E995C46885}"/>
              </a:ext>
            </a:extLst>
          </p:cNvPr>
          <p:cNvSpPr txBox="1"/>
          <p:nvPr/>
        </p:nvSpPr>
        <p:spPr>
          <a:xfrm>
            <a:off x="6643311" y="3893585"/>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MILLING MACHINES</a:t>
            </a:r>
            <a:endParaRPr lang="en-US" sz="1200" dirty="0">
              <a:solidFill>
                <a:schemeClr val="tx1">
                  <a:lumMod val="95000"/>
                  <a:lumOff val="5000"/>
                </a:schemeClr>
              </a:solidFill>
            </a:endParaRPr>
          </a:p>
        </p:txBody>
      </p:sp>
    </p:spTree>
    <p:extLst>
      <p:ext uri="{BB962C8B-B14F-4D97-AF65-F5344CB8AC3E}">
        <p14:creationId xmlns:p14="http://schemas.microsoft.com/office/powerpoint/2010/main" val="1313728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Placeholder 106"/>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t="12590" b="12590"/>
          <a:stretch/>
        </p:blipFill>
        <p:spPr/>
      </p:pic>
      <p:sp>
        <p:nvSpPr>
          <p:cNvPr id="108" name="Rectangle 107"/>
          <p:cNvSpPr/>
          <p:nvPr/>
        </p:nvSpPr>
        <p:spPr>
          <a:xfrm>
            <a:off x="0" y="1"/>
            <a:ext cx="12192000" cy="1204686"/>
          </a:xfrm>
          <a:prstGeom prst="rect">
            <a:avLst/>
          </a:prstGeom>
          <a:solidFill>
            <a:srgbClr val="8AAAE5">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4209188" y="549276"/>
            <a:ext cx="3773624" cy="492443"/>
            <a:chOff x="2551612" y="549275"/>
            <a:chExt cx="3773624" cy="492443"/>
          </a:xfrm>
        </p:grpSpPr>
        <p:sp>
          <p:nvSpPr>
            <p:cNvPr id="16" name="Line 6"/>
            <p:cNvSpPr>
              <a:spLocks noChangeShapeType="1"/>
            </p:cNvSpPr>
            <p:nvPr/>
          </p:nvSpPr>
          <p:spPr bwMode="auto">
            <a:xfrm>
              <a:off x="4256655" y="1024552"/>
              <a:ext cx="363538" cy="0"/>
            </a:xfrm>
            <a:prstGeom prst="line">
              <a:avLst/>
            </a:prstGeom>
            <a:noFill/>
            <a:ln w="571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7" name="TextBox 16"/>
            <p:cNvSpPr txBox="1"/>
            <p:nvPr/>
          </p:nvSpPr>
          <p:spPr>
            <a:xfrm>
              <a:off x="2551612" y="549275"/>
              <a:ext cx="3773624" cy="492443"/>
            </a:xfrm>
            <a:prstGeom prst="rect">
              <a:avLst/>
            </a:prstGeom>
            <a:noFill/>
            <a:ln w="6350">
              <a:noFill/>
              <a:prstDash val="dash"/>
            </a:ln>
          </p:spPr>
          <p:txBody>
            <a:bodyPr wrap="square" lIns="0" tIns="0" rIns="0" bIns="0" rtlCol="0">
              <a:spAutoFit/>
            </a:bodyPr>
            <a:lstStyle/>
            <a:p>
              <a:pPr algn="ctr"/>
              <a:r>
                <a:rPr lang="en-US" sz="3200" b="1" dirty="0">
                  <a:solidFill>
                    <a:schemeClr val="bg1"/>
                  </a:solidFill>
                </a:rPr>
                <a:t>OUR PRODUCTS</a:t>
              </a:r>
              <a:endParaRPr lang="en-US" sz="3200" dirty="0">
                <a:solidFill>
                  <a:schemeClr val="bg1"/>
                </a:solidFill>
              </a:endParaRPr>
            </a:p>
          </p:txBody>
        </p:sp>
      </p:grpSp>
      <p:sp>
        <p:nvSpPr>
          <p:cNvPr id="58" name="Line 6"/>
          <p:cNvSpPr>
            <a:spLocks noChangeShapeType="1"/>
          </p:cNvSpPr>
          <p:nvPr/>
        </p:nvSpPr>
        <p:spPr bwMode="auto">
          <a:xfrm>
            <a:off x="1663969" y="2110986"/>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1" name="TextBox 60"/>
          <p:cNvSpPr txBox="1"/>
          <p:nvPr/>
        </p:nvSpPr>
        <p:spPr>
          <a:xfrm>
            <a:off x="825737" y="1865490"/>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RUBBER BELLOW SEALS</a:t>
            </a:r>
            <a:endParaRPr lang="en-US" sz="1200" dirty="0">
              <a:solidFill>
                <a:schemeClr val="tx1">
                  <a:lumMod val="95000"/>
                  <a:lumOff val="5000"/>
                </a:schemeClr>
              </a:solidFill>
            </a:endParaRPr>
          </a:p>
        </p:txBody>
      </p:sp>
      <p:grpSp>
        <p:nvGrpSpPr>
          <p:cNvPr id="2" name="Group 1"/>
          <p:cNvGrpSpPr/>
          <p:nvPr/>
        </p:nvGrpSpPr>
        <p:grpSpPr>
          <a:xfrm>
            <a:off x="502872" y="2215191"/>
            <a:ext cx="2540000" cy="2540000"/>
            <a:chOff x="1972651" y="2337449"/>
            <a:chExt cx="2099174" cy="2099174"/>
          </a:xfrm>
        </p:grpSpPr>
        <p:sp>
          <p:nvSpPr>
            <p:cNvPr id="37" name="Freeform 36"/>
            <p:cNvSpPr/>
            <p:nvPr/>
          </p:nvSpPr>
          <p:spPr>
            <a:xfrm>
              <a:off x="1972651" y="2337449"/>
              <a:ext cx="2099174" cy="2099174"/>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95" name="Diamond 94"/>
            <p:cNvSpPr>
              <a:spLocks noChangeAspect="1"/>
            </p:cNvSpPr>
            <p:nvPr/>
          </p:nvSpPr>
          <p:spPr>
            <a:xfrm>
              <a:off x="2216772" y="2598794"/>
              <a:ext cx="1576859" cy="1576859"/>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grpSp>
      <p:sp>
        <p:nvSpPr>
          <p:cNvPr id="60" name="Line 6"/>
          <p:cNvSpPr>
            <a:spLocks noChangeShapeType="1"/>
          </p:cNvSpPr>
          <p:nvPr/>
        </p:nvSpPr>
        <p:spPr bwMode="auto">
          <a:xfrm>
            <a:off x="3810063" y="5840671"/>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2" name="TextBox 61"/>
          <p:cNvSpPr txBox="1"/>
          <p:nvPr/>
        </p:nvSpPr>
        <p:spPr>
          <a:xfrm>
            <a:off x="2991514" y="5968510"/>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MULTI SPRING SEALS</a:t>
            </a:r>
            <a:endParaRPr lang="en-US" sz="1200" dirty="0">
              <a:solidFill>
                <a:schemeClr val="tx1">
                  <a:lumMod val="95000"/>
                  <a:lumOff val="5000"/>
                </a:schemeClr>
              </a:solidFill>
            </a:endParaRPr>
          </a:p>
        </p:txBody>
      </p:sp>
      <p:sp>
        <p:nvSpPr>
          <p:cNvPr id="38" name="Freeform 37"/>
          <p:cNvSpPr/>
          <p:nvPr/>
        </p:nvSpPr>
        <p:spPr>
          <a:xfrm>
            <a:off x="2668649" y="3196281"/>
            <a:ext cx="2540000" cy="2540000"/>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98" name="Diamond 97"/>
          <p:cNvSpPr>
            <a:spLocks noChangeAspect="1"/>
          </p:cNvSpPr>
          <p:nvPr/>
        </p:nvSpPr>
        <p:spPr>
          <a:xfrm>
            <a:off x="2984650" y="3512282"/>
            <a:ext cx="1907999" cy="1907999"/>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67" name="Line 6"/>
          <p:cNvSpPr>
            <a:spLocks noChangeShapeType="1"/>
          </p:cNvSpPr>
          <p:nvPr/>
        </p:nvSpPr>
        <p:spPr bwMode="auto">
          <a:xfrm>
            <a:off x="10327077" y="2110986"/>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8" name="TextBox 67"/>
          <p:cNvSpPr txBox="1"/>
          <p:nvPr/>
        </p:nvSpPr>
        <p:spPr>
          <a:xfrm>
            <a:off x="9488845" y="1883074"/>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CARTRIDGE SEALS</a:t>
            </a:r>
          </a:p>
        </p:txBody>
      </p:sp>
      <p:sp>
        <p:nvSpPr>
          <p:cNvPr id="41" name="Freeform 40"/>
          <p:cNvSpPr/>
          <p:nvPr/>
        </p:nvSpPr>
        <p:spPr>
          <a:xfrm>
            <a:off x="9165980" y="2215191"/>
            <a:ext cx="2540000" cy="2540000"/>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99" name="Diamond 98"/>
          <p:cNvSpPr>
            <a:spLocks noChangeAspect="1"/>
          </p:cNvSpPr>
          <p:nvPr/>
        </p:nvSpPr>
        <p:spPr>
          <a:xfrm>
            <a:off x="9481980" y="2531375"/>
            <a:ext cx="1908000" cy="1908000"/>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64" name="Line 6"/>
          <p:cNvSpPr>
            <a:spLocks noChangeShapeType="1"/>
          </p:cNvSpPr>
          <p:nvPr/>
        </p:nvSpPr>
        <p:spPr bwMode="auto">
          <a:xfrm>
            <a:off x="8141617" y="5840671"/>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6" name="TextBox 65"/>
          <p:cNvSpPr txBox="1"/>
          <p:nvPr/>
        </p:nvSpPr>
        <p:spPr>
          <a:xfrm>
            <a:off x="7323068" y="5968510"/>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METAL BELLOW SEALS</a:t>
            </a:r>
            <a:endParaRPr lang="en-US" sz="1200" dirty="0">
              <a:solidFill>
                <a:schemeClr val="tx1">
                  <a:lumMod val="95000"/>
                  <a:lumOff val="5000"/>
                </a:schemeClr>
              </a:solidFill>
            </a:endParaRPr>
          </a:p>
        </p:txBody>
      </p:sp>
      <p:grpSp>
        <p:nvGrpSpPr>
          <p:cNvPr id="5" name="Group 4"/>
          <p:cNvGrpSpPr/>
          <p:nvPr/>
        </p:nvGrpSpPr>
        <p:grpSpPr>
          <a:xfrm>
            <a:off x="7000203" y="3196281"/>
            <a:ext cx="2540000" cy="2540000"/>
            <a:chOff x="6595933" y="3595903"/>
            <a:chExt cx="2099174" cy="2099174"/>
          </a:xfrm>
        </p:grpSpPr>
        <p:sp>
          <p:nvSpPr>
            <p:cNvPr id="40" name="Freeform 39"/>
            <p:cNvSpPr/>
            <p:nvPr/>
          </p:nvSpPr>
          <p:spPr>
            <a:xfrm>
              <a:off x="6595933" y="3595903"/>
              <a:ext cx="2099174" cy="2099174"/>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100" name="Diamond 99"/>
            <p:cNvSpPr>
              <a:spLocks noChangeAspect="1"/>
            </p:cNvSpPr>
            <p:nvPr/>
          </p:nvSpPr>
          <p:spPr>
            <a:xfrm>
              <a:off x="6857091" y="3857061"/>
              <a:ext cx="1576859" cy="1576859"/>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grpSp>
      <p:grpSp>
        <p:nvGrpSpPr>
          <p:cNvPr id="3" name="Group 2"/>
          <p:cNvGrpSpPr/>
          <p:nvPr/>
        </p:nvGrpSpPr>
        <p:grpSpPr>
          <a:xfrm>
            <a:off x="4834426" y="2215191"/>
            <a:ext cx="2540000" cy="2540000"/>
            <a:chOff x="5054839" y="2337449"/>
            <a:chExt cx="2099174" cy="2099174"/>
          </a:xfrm>
        </p:grpSpPr>
        <p:sp>
          <p:nvSpPr>
            <p:cNvPr id="39" name="Freeform 38"/>
            <p:cNvSpPr/>
            <p:nvPr/>
          </p:nvSpPr>
          <p:spPr>
            <a:xfrm>
              <a:off x="5054839" y="2337449"/>
              <a:ext cx="2099174" cy="2099174"/>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97" name="Diamond 96"/>
            <p:cNvSpPr>
              <a:spLocks noChangeAspect="1"/>
            </p:cNvSpPr>
            <p:nvPr/>
          </p:nvSpPr>
          <p:spPr>
            <a:xfrm>
              <a:off x="5315997" y="2598791"/>
              <a:ext cx="1576859" cy="1576859"/>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grpSp>
      <p:sp>
        <p:nvSpPr>
          <p:cNvPr id="63" name="Line 6"/>
          <p:cNvSpPr>
            <a:spLocks noChangeShapeType="1"/>
          </p:cNvSpPr>
          <p:nvPr/>
        </p:nvSpPr>
        <p:spPr bwMode="auto">
          <a:xfrm>
            <a:off x="5995523" y="2110986"/>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5" name="TextBox 64"/>
          <p:cNvSpPr txBox="1"/>
          <p:nvPr/>
        </p:nvSpPr>
        <p:spPr>
          <a:xfrm>
            <a:off x="5157291" y="1883074"/>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SINGLE SPRING SEALS</a:t>
            </a:r>
            <a:endParaRPr lang="en-US" sz="1200" dirty="0">
              <a:solidFill>
                <a:schemeClr val="tx1">
                  <a:lumMod val="95000"/>
                  <a:lumOff val="5000"/>
                </a:schemeClr>
              </a:solidFill>
            </a:endParaRPr>
          </a:p>
        </p:txBody>
      </p:sp>
      <p:pic>
        <p:nvPicPr>
          <p:cNvPr id="27" name="Picture Placeholder 26" descr="A close up of a device&#10;&#10;Description automatically generated">
            <a:extLst>
              <a:ext uri="{FF2B5EF4-FFF2-40B4-BE49-F238E27FC236}">
                <a16:creationId xmlns:a16="http://schemas.microsoft.com/office/drawing/2014/main" id="{54D221C3-9FF1-4BD8-A9AF-C2189ABC11C4}"/>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12940" r="12940"/>
          <a:stretch>
            <a:fillRect/>
          </a:stretch>
        </p:blipFill>
        <p:spPr>
          <a:xfrm>
            <a:off x="5106984" y="2503365"/>
            <a:ext cx="1987421" cy="1982081"/>
          </a:xfrm>
        </p:spPr>
      </p:pic>
      <p:pic>
        <p:nvPicPr>
          <p:cNvPr id="19" name="Picture Placeholder 18" descr="A picture containing sitting, table, plate, person&#10;&#10;Description automatically generated">
            <a:extLst>
              <a:ext uri="{FF2B5EF4-FFF2-40B4-BE49-F238E27FC236}">
                <a16:creationId xmlns:a16="http://schemas.microsoft.com/office/drawing/2014/main" id="{AD08FD57-8885-41F6-B34D-84CDA1BAA061}"/>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l="7645" r="7645"/>
          <a:stretch>
            <a:fillRect/>
          </a:stretch>
        </p:blipFill>
        <p:spPr>
          <a:xfrm>
            <a:off x="754003" y="2475047"/>
            <a:ext cx="2026432" cy="2020987"/>
          </a:xfrm>
        </p:spPr>
      </p:pic>
      <p:pic>
        <p:nvPicPr>
          <p:cNvPr id="25" name="Picture Placeholder 24" descr="A close up of a device&#10;&#10;Description automatically generated">
            <a:extLst>
              <a:ext uri="{FF2B5EF4-FFF2-40B4-BE49-F238E27FC236}">
                <a16:creationId xmlns:a16="http://schemas.microsoft.com/office/drawing/2014/main" id="{E5A6BD54-DAEB-44AA-83B6-80DBA117F182}"/>
              </a:ext>
            </a:extLst>
          </p:cNvPr>
          <p:cNvPicPr>
            <a:picLocks noGrp="1" noChangeAspect="1"/>
          </p:cNvPicPr>
          <p:nvPr>
            <p:ph type="pic" sz="quarter" idx="18"/>
          </p:nvPr>
        </p:nvPicPr>
        <p:blipFill>
          <a:blip r:embed="rId5">
            <a:extLst>
              <a:ext uri="{28A0092B-C50C-407E-A947-70E740481C1C}">
                <a14:useLocalDpi xmlns:a14="http://schemas.microsoft.com/office/drawing/2010/main" val="0"/>
              </a:ext>
            </a:extLst>
          </a:blip>
          <a:srcRect l="11362" r="11362"/>
          <a:stretch>
            <a:fillRect/>
          </a:stretch>
        </p:blipFill>
        <p:spPr>
          <a:xfrm>
            <a:off x="2941202" y="3472960"/>
            <a:ext cx="1990686" cy="1985337"/>
          </a:xfrm>
        </p:spPr>
      </p:pic>
      <p:pic>
        <p:nvPicPr>
          <p:cNvPr id="54" name="Picture Placeholder 53" descr="A close up of a camera&#10;&#10;Description automatically generated">
            <a:extLst>
              <a:ext uri="{FF2B5EF4-FFF2-40B4-BE49-F238E27FC236}">
                <a16:creationId xmlns:a16="http://schemas.microsoft.com/office/drawing/2014/main" id="{93F9F6E2-C87B-4F73-A4E6-195647BCF798}"/>
              </a:ext>
            </a:extLst>
          </p:cNvPr>
          <p:cNvPicPr>
            <a:picLocks noGrp="1" noChangeAspect="1"/>
          </p:cNvPicPr>
          <p:nvPr>
            <p:ph type="pic" sz="quarter" idx="19"/>
          </p:nvPr>
        </p:nvPicPr>
        <p:blipFill>
          <a:blip r:embed="rId6">
            <a:extLst>
              <a:ext uri="{28A0092B-C50C-407E-A947-70E740481C1C}">
                <a14:useLocalDpi xmlns:a14="http://schemas.microsoft.com/office/drawing/2010/main" val="0"/>
              </a:ext>
            </a:extLst>
          </a:blip>
          <a:srcRect l="8229" r="8229"/>
          <a:stretch>
            <a:fillRect/>
          </a:stretch>
        </p:blipFill>
        <p:spPr>
          <a:xfrm>
            <a:off x="7260989" y="3472960"/>
            <a:ext cx="2007393" cy="2001999"/>
          </a:xfrm>
        </p:spPr>
      </p:pic>
      <p:pic>
        <p:nvPicPr>
          <p:cNvPr id="56" name="Picture Placeholder 55" descr="A picture containing light&#10;&#10;Description automatically generated">
            <a:extLst>
              <a:ext uri="{FF2B5EF4-FFF2-40B4-BE49-F238E27FC236}">
                <a16:creationId xmlns:a16="http://schemas.microsoft.com/office/drawing/2014/main" id="{4B7F8E63-0E49-47A0-87E0-4A47F7121803}"/>
              </a:ext>
            </a:extLst>
          </p:cNvPr>
          <p:cNvPicPr>
            <a:picLocks noGrp="1" noChangeAspect="1"/>
          </p:cNvPicPr>
          <p:nvPr>
            <p:ph type="pic" sz="quarter" idx="17"/>
          </p:nvPr>
        </p:nvPicPr>
        <p:blipFill>
          <a:blip r:embed="rId7">
            <a:extLst>
              <a:ext uri="{28A0092B-C50C-407E-A947-70E740481C1C}">
                <a14:useLocalDpi xmlns:a14="http://schemas.microsoft.com/office/drawing/2010/main" val="0"/>
              </a:ext>
            </a:extLst>
          </a:blip>
          <a:srcRect l="13602" r="13602"/>
          <a:stretch>
            <a:fillRect/>
          </a:stretch>
        </p:blipFill>
        <p:spPr>
          <a:xfrm>
            <a:off x="9438249" y="2484981"/>
            <a:ext cx="2004483" cy="1999097"/>
          </a:xfrm>
        </p:spPr>
      </p:pic>
    </p:spTree>
    <p:extLst>
      <p:ext uri="{BB962C8B-B14F-4D97-AF65-F5344CB8AC3E}">
        <p14:creationId xmlns:p14="http://schemas.microsoft.com/office/powerpoint/2010/main" val="3382181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Placeholder 106"/>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t="12590" b="12590"/>
          <a:stretch/>
        </p:blipFill>
        <p:spPr/>
      </p:pic>
      <p:sp>
        <p:nvSpPr>
          <p:cNvPr id="108" name="Rectangle 107"/>
          <p:cNvSpPr/>
          <p:nvPr/>
        </p:nvSpPr>
        <p:spPr>
          <a:xfrm>
            <a:off x="0" y="1"/>
            <a:ext cx="12192000" cy="1204686"/>
          </a:xfrm>
          <a:prstGeom prst="rect">
            <a:avLst/>
          </a:prstGeom>
          <a:solidFill>
            <a:srgbClr val="8AAAE5">
              <a:alpha val="9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4209188" y="549276"/>
            <a:ext cx="3773624" cy="492443"/>
            <a:chOff x="2551612" y="549275"/>
            <a:chExt cx="3773624" cy="492443"/>
          </a:xfrm>
        </p:grpSpPr>
        <p:sp>
          <p:nvSpPr>
            <p:cNvPr id="16" name="Line 6"/>
            <p:cNvSpPr>
              <a:spLocks noChangeShapeType="1"/>
            </p:cNvSpPr>
            <p:nvPr/>
          </p:nvSpPr>
          <p:spPr bwMode="auto">
            <a:xfrm>
              <a:off x="4256655" y="1024552"/>
              <a:ext cx="363538" cy="0"/>
            </a:xfrm>
            <a:prstGeom prst="line">
              <a:avLst/>
            </a:prstGeom>
            <a:noFill/>
            <a:ln w="571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7" name="TextBox 16"/>
            <p:cNvSpPr txBox="1"/>
            <p:nvPr/>
          </p:nvSpPr>
          <p:spPr>
            <a:xfrm>
              <a:off x="2551612" y="549275"/>
              <a:ext cx="3773624" cy="492443"/>
            </a:xfrm>
            <a:prstGeom prst="rect">
              <a:avLst/>
            </a:prstGeom>
            <a:noFill/>
            <a:ln w="6350">
              <a:noFill/>
              <a:prstDash val="dash"/>
            </a:ln>
          </p:spPr>
          <p:txBody>
            <a:bodyPr wrap="square" lIns="0" tIns="0" rIns="0" bIns="0" rtlCol="0">
              <a:spAutoFit/>
            </a:bodyPr>
            <a:lstStyle/>
            <a:p>
              <a:pPr algn="ctr"/>
              <a:r>
                <a:rPr lang="en-US" sz="3200" b="1" dirty="0">
                  <a:solidFill>
                    <a:schemeClr val="bg1"/>
                  </a:solidFill>
                </a:rPr>
                <a:t>OUR PRODUCTS</a:t>
              </a:r>
              <a:endParaRPr lang="en-US" sz="3200" dirty="0">
                <a:solidFill>
                  <a:schemeClr val="bg1"/>
                </a:solidFill>
              </a:endParaRPr>
            </a:p>
          </p:txBody>
        </p:sp>
      </p:grpSp>
      <p:sp>
        <p:nvSpPr>
          <p:cNvPr id="58" name="Line 6"/>
          <p:cNvSpPr>
            <a:spLocks noChangeShapeType="1"/>
          </p:cNvSpPr>
          <p:nvPr/>
        </p:nvSpPr>
        <p:spPr bwMode="auto">
          <a:xfrm>
            <a:off x="1663969" y="2110986"/>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1" name="TextBox 60"/>
          <p:cNvSpPr txBox="1"/>
          <p:nvPr/>
        </p:nvSpPr>
        <p:spPr>
          <a:xfrm>
            <a:off x="825737" y="1865490"/>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PTFE BELLOW SEALS</a:t>
            </a:r>
            <a:endParaRPr lang="en-US" sz="1200" dirty="0">
              <a:solidFill>
                <a:schemeClr val="tx1">
                  <a:lumMod val="95000"/>
                  <a:lumOff val="5000"/>
                </a:schemeClr>
              </a:solidFill>
            </a:endParaRPr>
          </a:p>
        </p:txBody>
      </p:sp>
      <p:grpSp>
        <p:nvGrpSpPr>
          <p:cNvPr id="2" name="Group 1"/>
          <p:cNvGrpSpPr/>
          <p:nvPr/>
        </p:nvGrpSpPr>
        <p:grpSpPr>
          <a:xfrm>
            <a:off x="502872" y="2215191"/>
            <a:ext cx="2540000" cy="2540000"/>
            <a:chOff x="1972651" y="2337449"/>
            <a:chExt cx="2099174" cy="2099174"/>
          </a:xfrm>
        </p:grpSpPr>
        <p:sp>
          <p:nvSpPr>
            <p:cNvPr id="37" name="Freeform 36"/>
            <p:cNvSpPr/>
            <p:nvPr/>
          </p:nvSpPr>
          <p:spPr>
            <a:xfrm>
              <a:off x="1972651" y="2337449"/>
              <a:ext cx="2099174" cy="2099174"/>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95" name="Diamond 94"/>
            <p:cNvSpPr>
              <a:spLocks noChangeAspect="1"/>
            </p:cNvSpPr>
            <p:nvPr/>
          </p:nvSpPr>
          <p:spPr>
            <a:xfrm>
              <a:off x="2216772" y="2598794"/>
              <a:ext cx="1576859" cy="1576859"/>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grpSp>
      <p:sp>
        <p:nvSpPr>
          <p:cNvPr id="60" name="Line 6"/>
          <p:cNvSpPr>
            <a:spLocks noChangeShapeType="1"/>
          </p:cNvSpPr>
          <p:nvPr/>
        </p:nvSpPr>
        <p:spPr bwMode="auto">
          <a:xfrm>
            <a:off x="3810063" y="5840671"/>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2" name="TextBox 61"/>
          <p:cNvSpPr txBox="1"/>
          <p:nvPr/>
        </p:nvSpPr>
        <p:spPr>
          <a:xfrm>
            <a:off x="2991514" y="5968510"/>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WAVE WASHER SEALS</a:t>
            </a:r>
            <a:endParaRPr lang="en-US" sz="1200" dirty="0">
              <a:solidFill>
                <a:schemeClr val="tx1">
                  <a:lumMod val="95000"/>
                  <a:lumOff val="5000"/>
                </a:schemeClr>
              </a:solidFill>
            </a:endParaRPr>
          </a:p>
        </p:txBody>
      </p:sp>
      <p:sp>
        <p:nvSpPr>
          <p:cNvPr id="38" name="Freeform 37"/>
          <p:cNvSpPr/>
          <p:nvPr/>
        </p:nvSpPr>
        <p:spPr>
          <a:xfrm>
            <a:off x="2668649" y="3196281"/>
            <a:ext cx="2540000" cy="2540000"/>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98" name="Diamond 97"/>
          <p:cNvSpPr>
            <a:spLocks noChangeAspect="1"/>
          </p:cNvSpPr>
          <p:nvPr/>
        </p:nvSpPr>
        <p:spPr>
          <a:xfrm>
            <a:off x="2984650" y="3512282"/>
            <a:ext cx="1907999" cy="1907999"/>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67" name="Line 6"/>
          <p:cNvSpPr>
            <a:spLocks noChangeShapeType="1"/>
          </p:cNvSpPr>
          <p:nvPr/>
        </p:nvSpPr>
        <p:spPr bwMode="auto">
          <a:xfrm>
            <a:off x="10327077" y="2110986"/>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8" name="TextBox 67"/>
          <p:cNvSpPr txBox="1"/>
          <p:nvPr/>
        </p:nvSpPr>
        <p:spPr>
          <a:xfrm>
            <a:off x="9488845" y="1883074"/>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DOUBLE CARTRIDGE SEALS</a:t>
            </a:r>
          </a:p>
        </p:txBody>
      </p:sp>
      <p:sp>
        <p:nvSpPr>
          <p:cNvPr id="41" name="Freeform 40"/>
          <p:cNvSpPr/>
          <p:nvPr/>
        </p:nvSpPr>
        <p:spPr>
          <a:xfrm>
            <a:off x="9165980" y="2215191"/>
            <a:ext cx="2540000" cy="2540000"/>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99" name="Diamond 98"/>
          <p:cNvSpPr>
            <a:spLocks noChangeAspect="1"/>
          </p:cNvSpPr>
          <p:nvPr/>
        </p:nvSpPr>
        <p:spPr>
          <a:xfrm>
            <a:off x="9481980" y="2531375"/>
            <a:ext cx="1908000" cy="1908000"/>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64" name="Line 6"/>
          <p:cNvSpPr>
            <a:spLocks noChangeShapeType="1"/>
          </p:cNvSpPr>
          <p:nvPr/>
        </p:nvSpPr>
        <p:spPr bwMode="auto">
          <a:xfrm>
            <a:off x="8141617" y="5840671"/>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6" name="TextBox 65"/>
          <p:cNvSpPr txBox="1"/>
          <p:nvPr/>
        </p:nvSpPr>
        <p:spPr>
          <a:xfrm>
            <a:off x="7323068" y="5968510"/>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DOUBLE MECHANICAL SEALS</a:t>
            </a:r>
            <a:endParaRPr lang="en-US" sz="1200" dirty="0">
              <a:solidFill>
                <a:schemeClr val="tx1">
                  <a:lumMod val="95000"/>
                  <a:lumOff val="5000"/>
                </a:schemeClr>
              </a:solidFill>
            </a:endParaRPr>
          </a:p>
        </p:txBody>
      </p:sp>
      <p:grpSp>
        <p:nvGrpSpPr>
          <p:cNvPr id="5" name="Group 4"/>
          <p:cNvGrpSpPr/>
          <p:nvPr/>
        </p:nvGrpSpPr>
        <p:grpSpPr>
          <a:xfrm>
            <a:off x="7000203" y="3196281"/>
            <a:ext cx="2540000" cy="2540000"/>
            <a:chOff x="6595933" y="3595903"/>
            <a:chExt cx="2099174" cy="2099174"/>
          </a:xfrm>
        </p:grpSpPr>
        <p:sp>
          <p:nvSpPr>
            <p:cNvPr id="40" name="Freeform 39"/>
            <p:cNvSpPr/>
            <p:nvPr/>
          </p:nvSpPr>
          <p:spPr>
            <a:xfrm>
              <a:off x="6595933" y="3595903"/>
              <a:ext cx="2099174" cy="2099174"/>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100" name="Diamond 99"/>
            <p:cNvSpPr>
              <a:spLocks noChangeAspect="1"/>
            </p:cNvSpPr>
            <p:nvPr/>
          </p:nvSpPr>
          <p:spPr>
            <a:xfrm>
              <a:off x="6857091" y="3857061"/>
              <a:ext cx="1576859" cy="1576859"/>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grpSp>
      <p:grpSp>
        <p:nvGrpSpPr>
          <p:cNvPr id="3" name="Group 2"/>
          <p:cNvGrpSpPr/>
          <p:nvPr/>
        </p:nvGrpSpPr>
        <p:grpSpPr>
          <a:xfrm>
            <a:off x="4834426" y="2215191"/>
            <a:ext cx="2540000" cy="2540000"/>
            <a:chOff x="5054839" y="2337449"/>
            <a:chExt cx="2099174" cy="2099174"/>
          </a:xfrm>
        </p:grpSpPr>
        <p:sp>
          <p:nvSpPr>
            <p:cNvPr id="39" name="Freeform 38"/>
            <p:cNvSpPr/>
            <p:nvPr/>
          </p:nvSpPr>
          <p:spPr>
            <a:xfrm>
              <a:off x="5054839" y="2337449"/>
              <a:ext cx="2099174" cy="2099174"/>
            </a:xfrm>
            <a:custGeom>
              <a:avLst/>
              <a:gdLst>
                <a:gd name="connsiteX0" fmla="*/ 1270000 w 2540000"/>
                <a:gd name="connsiteY0" fmla="*/ 220413 h 2540000"/>
                <a:gd name="connsiteX1" fmla="*/ 220413 w 2540000"/>
                <a:gd name="connsiteY1" fmla="*/ 1270000 h 2540000"/>
                <a:gd name="connsiteX2" fmla="*/ 1270000 w 2540000"/>
                <a:gd name="connsiteY2" fmla="*/ 2319587 h 2540000"/>
                <a:gd name="connsiteX3" fmla="*/ 2319587 w 2540000"/>
                <a:gd name="connsiteY3" fmla="*/ 1270000 h 2540000"/>
                <a:gd name="connsiteX4" fmla="*/ 1270000 w 2540000"/>
                <a:gd name="connsiteY4" fmla="*/ 0 h 2540000"/>
                <a:gd name="connsiteX5" fmla="*/ 2540000 w 2540000"/>
                <a:gd name="connsiteY5" fmla="*/ 1270000 h 2540000"/>
                <a:gd name="connsiteX6" fmla="*/ 1270000 w 2540000"/>
                <a:gd name="connsiteY6" fmla="*/ 2540000 h 2540000"/>
                <a:gd name="connsiteX7" fmla="*/ 0 w 2540000"/>
                <a:gd name="connsiteY7" fmla="*/ 1270000 h 2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0000" h="2540000">
                  <a:moveTo>
                    <a:pt x="1270000" y="220413"/>
                  </a:moveTo>
                  <a:lnTo>
                    <a:pt x="220413" y="1270000"/>
                  </a:lnTo>
                  <a:lnTo>
                    <a:pt x="1270000" y="2319587"/>
                  </a:lnTo>
                  <a:lnTo>
                    <a:pt x="2319587" y="1270000"/>
                  </a:lnTo>
                  <a:close/>
                  <a:moveTo>
                    <a:pt x="1270000" y="0"/>
                  </a:moveTo>
                  <a:lnTo>
                    <a:pt x="2540000" y="1270000"/>
                  </a:lnTo>
                  <a:lnTo>
                    <a:pt x="1270000" y="2540000"/>
                  </a:lnTo>
                  <a:lnTo>
                    <a:pt x="0" y="1270000"/>
                  </a:lnTo>
                  <a:close/>
                </a:path>
              </a:pathLst>
            </a:custGeom>
            <a:solidFill>
              <a:srgbClr val="8AAA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97" name="Diamond 96"/>
            <p:cNvSpPr>
              <a:spLocks noChangeAspect="1"/>
            </p:cNvSpPr>
            <p:nvPr/>
          </p:nvSpPr>
          <p:spPr>
            <a:xfrm>
              <a:off x="5315997" y="2598791"/>
              <a:ext cx="1576859" cy="1576859"/>
            </a:xfrm>
            <a:prstGeom prst="diamond">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grpSp>
      <p:sp>
        <p:nvSpPr>
          <p:cNvPr id="63" name="Line 6"/>
          <p:cNvSpPr>
            <a:spLocks noChangeShapeType="1"/>
          </p:cNvSpPr>
          <p:nvPr/>
        </p:nvSpPr>
        <p:spPr bwMode="auto">
          <a:xfrm>
            <a:off x="5995523" y="2110986"/>
            <a:ext cx="257175" cy="0"/>
          </a:xfrm>
          <a:prstGeom prst="line">
            <a:avLst/>
          </a:prstGeom>
          <a:noFill/>
          <a:ln w="57150" cap="rnd">
            <a:solidFill>
              <a:srgbClr val="8AAAE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solidFill>
                <a:schemeClr val="tx1">
                  <a:lumMod val="95000"/>
                  <a:lumOff val="5000"/>
                </a:schemeClr>
              </a:solidFill>
            </a:endParaRPr>
          </a:p>
        </p:txBody>
      </p:sp>
      <p:sp>
        <p:nvSpPr>
          <p:cNvPr id="65" name="TextBox 64"/>
          <p:cNvSpPr txBox="1"/>
          <p:nvPr/>
        </p:nvSpPr>
        <p:spPr>
          <a:xfrm>
            <a:off x="5157291" y="1883074"/>
            <a:ext cx="1894271" cy="184666"/>
          </a:xfrm>
          <a:prstGeom prst="rect">
            <a:avLst/>
          </a:prstGeom>
          <a:noFill/>
          <a:ln w="6350">
            <a:noFill/>
            <a:prstDash val="dash"/>
          </a:ln>
        </p:spPr>
        <p:txBody>
          <a:bodyPr wrap="square" lIns="0" tIns="0" rIns="0" bIns="0" rtlCol="0">
            <a:spAutoFit/>
          </a:bodyPr>
          <a:lstStyle/>
          <a:p>
            <a:pPr algn="ctr"/>
            <a:r>
              <a:rPr lang="en-US" sz="1200" b="1" dirty="0">
                <a:solidFill>
                  <a:schemeClr val="tx1">
                    <a:lumMod val="95000"/>
                    <a:lumOff val="5000"/>
                  </a:schemeClr>
                </a:solidFill>
              </a:rPr>
              <a:t>SINGLE CARTRIDGE SEALS</a:t>
            </a:r>
            <a:endParaRPr lang="en-US" sz="1200" dirty="0">
              <a:solidFill>
                <a:schemeClr val="tx1">
                  <a:lumMod val="95000"/>
                  <a:lumOff val="5000"/>
                </a:schemeClr>
              </a:solidFill>
            </a:endParaRPr>
          </a:p>
        </p:txBody>
      </p:sp>
      <p:pic>
        <p:nvPicPr>
          <p:cNvPr id="20" name="Picture Placeholder 19">
            <a:extLst>
              <a:ext uri="{FF2B5EF4-FFF2-40B4-BE49-F238E27FC236}">
                <a16:creationId xmlns:a16="http://schemas.microsoft.com/office/drawing/2014/main" id="{373DEBCD-E523-4F0A-AD07-B9D078EA179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551" r="8551"/>
          <a:stretch>
            <a:fillRect/>
          </a:stretch>
        </p:blipFill>
        <p:spPr>
          <a:xfrm>
            <a:off x="757846" y="2475109"/>
            <a:ext cx="2030570" cy="2025113"/>
          </a:xfrm>
        </p:spPr>
      </p:pic>
      <p:pic>
        <p:nvPicPr>
          <p:cNvPr id="9" name="Picture Placeholder 8" descr="A picture containing bowl, sitting, standing&#10;&#10;Description automatically generated">
            <a:extLst>
              <a:ext uri="{FF2B5EF4-FFF2-40B4-BE49-F238E27FC236}">
                <a16:creationId xmlns:a16="http://schemas.microsoft.com/office/drawing/2014/main" id="{8503CE90-FE99-455F-A033-225487F170EF}"/>
              </a:ext>
            </a:extLst>
          </p:cNvPr>
          <p:cNvPicPr>
            <a:picLocks noGrp="1" noChangeAspect="1"/>
          </p:cNvPicPr>
          <p:nvPr>
            <p:ph type="pic" sz="quarter" idx="16"/>
          </p:nvPr>
        </p:nvPicPr>
        <p:blipFill>
          <a:blip r:embed="rId4">
            <a:extLst>
              <a:ext uri="{28A0092B-C50C-407E-A947-70E740481C1C}">
                <a14:useLocalDpi xmlns:a14="http://schemas.microsoft.com/office/drawing/2010/main" val="0"/>
              </a:ext>
            </a:extLst>
          </a:blip>
          <a:srcRect l="7645" r="7645"/>
          <a:stretch>
            <a:fillRect/>
          </a:stretch>
        </p:blipFill>
        <p:spPr>
          <a:xfrm>
            <a:off x="5080607" y="2482127"/>
            <a:ext cx="2041160" cy="2035675"/>
          </a:xfrm>
        </p:spPr>
      </p:pic>
      <p:pic>
        <p:nvPicPr>
          <p:cNvPr id="13" name="Picture Placeholder 12" descr="A close up of a camera&#10;&#10;Description automatically generated">
            <a:extLst>
              <a:ext uri="{FF2B5EF4-FFF2-40B4-BE49-F238E27FC236}">
                <a16:creationId xmlns:a16="http://schemas.microsoft.com/office/drawing/2014/main" id="{1B247503-601E-4D55-A136-77D799BAED3B}"/>
              </a:ext>
            </a:extLst>
          </p:cNvPr>
          <p:cNvPicPr>
            <a:picLocks noGrp="1" noChangeAspect="1"/>
          </p:cNvPicPr>
          <p:nvPr>
            <p:ph type="pic" sz="quarter" idx="19"/>
          </p:nvPr>
        </p:nvPicPr>
        <p:blipFill>
          <a:blip r:embed="rId5">
            <a:extLst>
              <a:ext uri="{28A0092B-C50C-407E-A947-70E740481C1C}">
                <a14:useLocalDpi xmlns:a14="http://schemas.microsoft.com/office/drawing/2010/main" val="0"/>
              </a:ext>
            </a:extLst>
          </a:blip>
          <a:srcRect l="9273" r="9273"/>
          <a:stretch>
            <a:fillRect/>
          </a:stretch>
        </p:blipFill>
        <p:spPr>
          <a:xfrm>
            <a:off x="7246386" y="3454263"/>
            <a:ext cx="2038145" cy="2032668"/>
          </a:xfrm>
        </p:spPr>
      </p:pic>
      <p:pic>
        <p:nvPicPr>
          <p:cNvPr id="28" name="Picture Placeholder 27" descr="A picture containing front, standing, sitting, large&#10;&#10;Description automatically generated">
            <a:extLst>
              <a:ext uri="{FF2B5EF4-FFF2-40B4-BE49-F238E27FC236}">
                <a16:creationId xmlns:a16="http://schemas.microsoft.com/office/drawing/2014/main" id="{4CCC859B-F59C-41FA-A096-4F0245E6F096}"/>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16562" r="16562"/>
          <a:stretch>
            <a:fillRect/>
          </a:stretch>
        </p:blipFill>
        <p:spPr>
          <a:xfrm>
            <a:off x="9408115" y="2467550"/>
            <a:ext cx="2038145" cy="2032668"/>
          </a:xfrm>
        </p:spPr>
      </p:pic>
      <p:pic>
        <p:nvPicPr>
          <p:cNvPr id="32" name="Picture Placeholder 31" descr="A picture containing indoor, sitting, small, table&#10;&#10;Description automatically generated">
            <a:extLst>
              <a:ext uri="{FF2B5EF4-FFF2-40B4-BE49-F238E27FC236}">
                <a16:creationId xmlns:a16="http://schemas.microsoft.com/office/drawing/2014/main" id="{4ADC425F-3248-48AE-9C9D-575C12868AE7}"/>
              </a:ext>
            </a:extLst>
          </p:cNvPr>
          <p:cNvPicPr>
            <a:picLocks noGrp="1" noChangeAspect="1"/>
          </p:cNvPicPr>
          <p:nvPr>
            <p:ph type="pic" sz="quarter" idx="18"/>
          </p:nvPr>
        </p:nvPicPr>
        <p:blipFill>
          <a:blip r:embed="rId7">
            <a:extLst>
              <a:ext uri="{28A0092B-C50C-407E-A947-70E740481C1C}">
                <a14:useLocalDpi xmlns:a14="http://schemas.microsoft.com/office/drawing/2010/main" val="0"/>
              </a:ext>
            </a:extLst>
          </a:blip>
          <a:srcRect l="9343" r="9343"/>
          <a:stretch>
            <a:fillRect/>
          </a:stretch>
        </p:blipFill>
        <p:spPr>
          <a:xfrm>
            <a:off x="2923622" y="3461170"/>
            <a:ext cx="2030569" cy="2025113"/>
          </a:xfrm>
        </p:spPr>
      </p:pic>
    </p:spTree>
    <p:extLst>
      <p:ext uri="{BB962C8B-B14F-4D97-AF65-F5344CB8AC3E}">
        <p14:creationId xmlns:p14="http://schemas.microsoft.com/office/powerpoint/2010/main" val="3356706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945725" y="641997"/>
            <a:ext cx="3773624" cy="492443"/>
            <a:chOff x="2551612" y="549275"/>
            <a:chExt cx="3773624" cy="492443"/>
          </a:xfrm>
        </p:grpSpPr>
        <p:sp>
          <p:nvSpPr>
            <p:cNvPr id="4" name="Line 6"/>
            <p:cNvSpPr>
              <a:spLocks noChangeShapeType="1"/>
            </p:cNvSpPr>
            <p:nvPr/>
          </p:nvSpPr>
          <p:spPr bwMode="auto">
            <a:xfrm>
              <a:off x="4256655" y="1024552"/>
              <a:ext cx="363538" cy="0"/>
            </a:xfrm>
            <a:prstGeom prst="line">
              <a:avLst/>
            </a:prstGeom>
            <a:noFill/>
            <a:ln w="57150"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5" name="TextBox 4"/>
            <p:cNvSpPr txBox="1"/>
            <p:nvPr/>
          </p:nvSpPr>
          <p:spPr>
            <a:xfrm>
              <a:off x="2551612" y="549275"/>
              <a:ext cx="3773624" cy="492443"/>
            </a:xfrm>
            <a:prstGeom prst="rect">
              <a:avLst/>
            </a:prstGeom>
            <a:noFill/>
            <a:ln w="6350">
              <a:noFill/>
              <a:prstDash val="dash"/>
            </a:ln>
          </p:spPr>
          <p:txBody>
            <a:bodyPr wrap="square" lIns="0" tIns="0" rIns="0" bIns="0" rtlCol="0">
              <a:spAutoFit/>
            </a:bodyPr>
            <a:lstStyle/>
            <a:p>
              <a:pPr algn="ctr"/>
              <a:r>
                <a:rPr lang="en-US" sz="3200" b="1" dirty="0">
                  <a:solidFill>
                    <a:schemeClr val="tx1">
                      <a:lumMod val="75000"/>
                      <a:lumOff val="25000"/>
                    </a:schemeClr>
                  </a:solidFill>
                </a:rPr>
                <a:t>OUR </a:t>
              </a:r>
              <a:r>
                <a:rPr lang="en-US" sz="3200" dirty="0">
                  <a:solidFill>
                    <a:schemeClr val="tx1">
                      <a:lumMod val="75000"/>
                      <a:lumOff val="25000"/>
                    </a:schemeClr>
                  </a:solidFill>
                </a:rPr>
                <a:t>SERVICES</a:t>
              </a:r>
            </a:p>
          </p:txBody>
        </p:sp>
      </p:grpSp>
      <p:grpSp>
        <p:nvGrpSpPr>
          <p:cNvPr id="19" name="Group 18"/>
          <p:cNvGrpSpPr/>
          <p:nvPr/>
        </p:nvGrpSpPr>
        <p:grpSpPr>
          <a:xfrm>
            <a:off x="989064" y="2177563"/>
            <a:ext cx="3494946" cy="2502874"/>
            <a:chOff x="756544" y="2156174"/>
            <a:chExt cx="3494946" cy="2502874"/>
          </a:xfrm>
        </p:grpSpPr>
        <p:grpSp>
          <p:nvGrpSpPr>
            <p:cNvPr id="51" name="Group 50"/>
            <p:cNvGrpSpPr/>
            <p:nvPr/>
          </p:nvGrpSpPr>
          <p:grpSpPr>
            <a:xfrm>
              <a:off x="1554192" y="2156174"/>
              <a:ext cx="1899651" cy="825166"/>
              <a:chOff x="1668127" y="2444665"/>
              <a:chExt cx="1179533" cy="512363"/>
            </a:xfrm>
          </p:grpSpPr>
          <p:sp>
            <p:nvSpPr>
              <p:cNvPr id="46" name="TextBox 45"/>
              <p:cNvSpPr txBox="1"/>
              <p:nvPr/>
            </p:nvSpPr>
            <p:spPr>
              <a:xfrm>
                <a:off x="1668127" y="2767834"/>
                <a:ext cx="1179533" cy="189194"/>
              </a:xfrm>
              <a:prstGeom prst="rect">
                <a:avLst/>
              </a:prstGeom>
              <a:noFill/>
              <a:ln w="6350">
                <a:noFill/>
                <a:prstDash val="dash"/>
              </a:ln>
            </p:spPr>
            <p:txBody>
              <a:bodyPr wrap="square" lIns="0" tIns="0" rIns="0" bIns="0" rtlCol="0">
                <a:spAutoFit/>
              </a:bodyPr>
              <a:lstStyle/>
              <a:p>
                <a:pPr algn="ctr"/>
                <a:r>
                  <a:rPr lang="en-US" b="1" dirty="0">
                    <a:solidFill>
                      <a:schemeClr val="bg1"/>
                    </a:solidFill>
                  </a:rPr>
                  <a:t>BRANDING</a:t>
                </a:r>
              </a:p>
            </p:txBody>
          </p:sp>
          <p:sp>
            <p:nvSpPr>
              <p:cNvPr id="50" name="Freeform 149"/>
              <p:cNvSpPr>
                <a:spLocks noChangeAspect="1" noEditPoints="1"/>
              </p:cNvSpPr>
              <p:nvPr/>
            </p:nvSpPr>
            <p:spPr bwMode="auto">
              <a:xfrm>
                <a:off x="2083934" y="2444665"/>
                <a:ext cx="347918" cy="288000"/>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52" name="TextBox 51"/>
            <p:cNvSpPr txBox="1"/>
            <p:nvPr/>
          </p:nvSpPr>
          <p:spPr>
            <a:xfrm>
              <a:off x="756544" y="3069669"/>
              <a:ext cx="3494946" cy="923330"/>
            </a:xfrm>
            <a:prstGeom prst="rect">
              <a:avLst/>
            </a:prstGeom>
            <a:noFill/>
            <a:ln w="6350">
              <a:noFill/>
              <a:prstDash val="dash"/>
            </a:ln>
          </p:spPr>
          <p:txBody>
            <a:bodyPr wrap="square" lIns="0" tIns="0" rIns="0" bIns="0" rtlCol="0">
              <a:spAutoFit/>
            </a:bodyPr>
            <a:lstStyle/>
            <a:p>
              <a:pPr algn="ctr"/>
              <a:r>
                <a:rPr lang="en-US" sz="1200" dirty="0" err="1">
                  <a:solidFill>
                    <a:schemeClr val="bg1"/>
                  </a:solidFill>
                </a:rPr>
                <a:t>Lorem</a:t>
              </a:r>
              <a:r>
                <a:rPr lang="en-US" sz="1200" dirty="0">
                  <a:solidFill>
                    <a:schemeClr val="bg1"/>
                  </a:solidFill>
                </a:rPr>
                <a:t> </a:t>
              </a:r>
              <a:r>
                <a:rPr lang="en-US" sz="1200" dirty="0" err="1">
                  <a:solidFill>
                    <a:schemeClr val="bg1"/>
                  </a:solidFill>
                </a:rPr>
                <a:t>Ipsum</a:t>
              </a:r>
              <a:r>
                <a:rPr lang="en-US" sz="1200" dirty="0">
                  <a:solidFill>
                    <a:schemeClr val="bg1"/>
                  </a:solidFill>
                </a:rPr>
                <a:t> is simply dummy text of the printing and typesetting industry. </a:t>
              </a:r>
              <a:r>
                <a:rPr lang="en-US" sz="1200" dirty="0" err="1">
                  <a:solidFill>
                    <a:schemeClr val="bg1"/>
                  </a:solidFill>
                </a:rPr>
                <a:t>Lorem</a:t>
              </a:r>
              <a:r>
                <a:rPr lang="en-US" sz="1200" dirty="0">
                  <a:solidFill>
                    <a:schemeClr val="bg1"/>
                  </a:solidFill>
                </a:rPr>
                <a:t> </a:t>
              </a:r>
              <a:r>
                <a:rPr lang="en-US" sz="1200" dirty="0" err="1">
                  <a:solidFill>
                    <a:schemeClr val="bg1"/>
                  </a:solidFill>
                </a:rPr>
                <a:t>Ipsum</a:t>
              </a:r>
              <a:r>
                <a:rPr lang="en-US" sz="1200" dirty="0">
                  <a:solidFill>
                    <a:schemeClr val="bg1"/>
                  </a:solidFill>
                </a:rPr>
                <a:t> has been the industry's standard dummy text ever since the 1500s, when an unknown printer took a galley of type and scrambled it to make a type specimen book. </a:t>
              </a:r>
            </a:p>
          </p:txBody>
        </p:sp>
        <p:grpSp>
          <p:nvGrpSpPr>
            <p:cNvPr id="93" name="Group 92"/>
            <p:cNvGrpSpPr/>
            <p:nvPr/>
          </p:nvGrpSpPr>
          <p:grpSpPr>
            <a:xfrm>
              <a:off x="1718311" y="4357617"/>
              <a:ext cx="1571413" cy="301431"/>
              <a:chOff x="1543614" y="4675996"/>
              <a:chExt cx="1428557" cy="274028"/>
            </a:xfrm>
          </p:grpSpPr>
          <p:grpSp>
            <p:nvGrpSpPr>
              <p:cNvPr id="89" name="Group 88"/>
              <p:cNvGrpSpPr/>
              <p:nvPr/>
            </p:nvGrpSpPr>
            <p:grpSpPr>
              <a:xfrm>
                <a:off x="1543614" y="4675996"/>
                <a:ext cx="274027" cy="274028"/>
                <a:chOff x="1543614" y="4675996"/>
                <a:chExt cx="274027" cy="274028"/>
              </a:xfrm>
            </p:grpSpPr>
            <p:sp>
              <p:nvSpPr>
                <p:cNvPr id="62" name="Oval 61"/>
                <p:cNvSpPr/>
                <p:nvPr/>
              </p:nvSpPr>
              <p:spPr>
                <a:xfrm>
                  <a:off x="1543614" y="4675996"/>
                  <a:ext cx="274027" cy="27402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grpSp>
              <p:nvGrpSpPr>
                <p:cNvPr id="79" name="Group 78"/>
                <p:cNvGrpSpPr/>
                <p:nvPr/>
              </p:nvGrpSpPr>
              <p:grpSpPr>
                <a:xfrm>
                  <a:off x="1608627" y="4741010"/>
                  <a:ext cx="144000" cy="144000"/>
                  <a:chOff x="1603049" y="4739717"/>
                  <a:chExt cx="144000" cy="144000"/>
                </a:xfrm>
                <a:solidFill>
                  <a:schemeClr val="bg1"/>
                </a:solidFill>
              </p:grpSpPr>
              <p:sp>
                <p:nvSpPr>
                  <p:cNvPr id="76" name="Freeform 10"/>
                  <p:cNvSpPr>
                    <a:spLocks noEditPoints="1"/>
                  </p:cNvSpPr>
                  <p:nvPr/>
                </p:nvSpPr>
                <p:spPr bwMode="auto">
                  <a:xfrm>
                    <a:off x="1603049" y="4739717"/>
                    <a:ext cx="85724" cy="144000"/>
                  </a:xfrm>
                  <a:custGeom>
                    <a:avLst/>
                    <a:gdLst>
                      <a:gd name="T0" fmla="*/ 144 w 181"/>
                      <a:gd name="T1" fmla="*/ 151 h 273"/>
                      <a:gd name="T2" fmla="*/ 125 w 181"/>
                      <a:gd name="T3" fmla="*/ 131 h 273"/>
                      <a:gd name="T4" fmla="*/ 138 w 181"/>
                      <a:gd name="T5" fmla="*/ 113 h 273"/>
                      <a:gd name="T6" fmla="*/ 163 w 181"/>
                      <a:gd name="T7" fmla="*/ 66 h 273"/>
                      <a:gd name="T8" fmla="*/ 150 w 181"/>
                      <a:gd name="T9" fmla="*/ 26 h 273"/>
                      <a:gd name="T10" fmla="*/ 157 w 181"/>
                      <a:gd name="T11" fmla="*/ 26 h 273"/>
                      <a:gd name="T12" fmla="*/ 160 w 181"/>
                      <a:gd name="T13" fmla="*/ 25 h 273"/>
                      <a:gd name="T14" fmla="*/ 178 w 181"/>
                      <a:gd name="T15" fmla="*/ 11 h 273"/>
                      <a:gd name="T16" fmla="*/ 181 w 181"/>
                      <a:gd name="T17" fmla="*/ 4 h 273"/>
                      <a:gd name="T18" fmla="*/ 175 w 181"/>
                      <a:gd name="T19" fmla="*/ 0 h 273"/>
                      <a:gd name="T20" fmla="*/ 94 w 181"/>
                      <a:gd name="T21" fmla="*/ 0 h 273"/>
                      <a:gd name="T22" fmla="*/ 67 w 181"/>
                      <a:gd name="T23" fmla="*/ 5 h 273"/>
                      <a:gd name="T24" fmla="*/ 17 w 181"/>
                      <a:gd name="T25" fmla="*/ 65 h 273"/>
                      <a:gd name="T26" fmla="*/ 83 w 181"/>
                      <a:gd name="T27" fmla="*/ 130 h 273"/>
                      <a:gd name="T28" fmla="*/ 82 w 181"/>
                      <a:gd name="T29" fmla="*/ 139 h 273"/>
                      <a:gd name="T30" fmla="*/ 87 w 181"/>
                      <a:gd name="T31" fmla="*/ 155 h 273"/>
                      <a:gd name="T32" fmla="*/ 86 w 181"/>
                      <a:gd name="T33" fmla="*/ 155 h 273"/>
                      <a:gd name="T34" fmla="*/ 5 w 181"/>
                      <a:gd name="T35" fmla="*/ 199 h 273"/>
                      <a:gd name="T36" fmla="*/ 0 w 181"/>
                      <a:gd name="T37" fmla="*/ 219 h 273"/>
                      <a:gd name="T38" fmla="*/ 5 w 181"/>
                      <a:gd name="T39" fmla="*/ 238 h 273"/>
                      <a:gd name="T40" fmla="*/ 52 w 181"/>
                      <a:gd name="T41" fmla="*/ 269 h 273"/>
                      <a:gd name="T42" fmla="*/ 89 w 181"/>
                      <a:gd name="T43" fmla="*/ 273 h 273"/>
                      <a:gd name="T44" fmla="*/ 122 w 181"/>
                      <a:gd name="T45" fmla="*/ 269 h 273"/>
                      <a:gd name="T46" fmla="*/ 174 w 181"/>
                      <a:gd name="T47" fmla="*/ 209 h 273"/>
                      <a:gd name="T48" fmla="*/ 144 w 181"/>
                      <a:gd name="T49" fmla="*/ 151 h 273"/>
                      <a:gd name="T50" fmla="*/ 42 w 181"/>
                      <a:gd name="T51" fmla="*/ 211 h 273"/>
                      <a:gd name="T52" fmla="*/ 93 w 181"/>
                      <a:gd name="T53" fmla="*/ 175 h 273"/>
                      <a:gd name="T54" fmla="*/ 94 w 181"/>
                      <a:gd name="T55" fmla="*/ 175 h 273"/>
                      <a:gd name="T56" fmla="*/ 111 w 181"/>
                      <a:gd name="T57" fmla="*/ 178 h 273"/>
                      <a:gd name="T58" fmla="*/ 117 w 181"/>
                      <a:gd name="T59" fmla="*/ 181 h 273"/>
                      <a:gd name="T60" fmla="*/ 140 w 181"/>
                      <a:gd name="T61" fmla="*/ 205 h 273"/>
                      <a:gd name="T62" fmla="*/ 141 w 181"/>
                      <a:gd name="T63" fmla="*/ 212 h 273"/>
                      <a:gd name="T64" fmla="*/ 89 w 181"/>
                      <a:gd name="T65" fmla="*/ 247 h 273"/>
                      <a:gd name="T66" fmla="*/ 42 w 181"/>
                      <a:gd name="T67" fmla="*/ 211 h 273"/>
                      <a:gd name="T68" fmla="*/ 67 w 181"/>
                      <a:gd name="T69" fmla="*/ 32 h 273"/>
                      <a:gd name="T70" fmla="*/ 83 w 181"/>
                      <a:gd name="T71" fmla="*/ 24 h 273"/>
                      <a:gd name="T72" fmla="*/ 84 w 181"/>
                      <a:gd name="T73" fmla="*/ 24 h 273"/>
                      <a:gd name="T74" fmla="*/ 122 w 181"/>
                      <a:gd name="T75" fmla="*/ 68 h 273"/>
                      <a:gd name="T76" fmla="*/ 114 w 181"/>
                      <a:gd name="T77" fmla="*/ 102 h 273"/>
                      <a:gd name="T78" fmla="*/ 97 w 181"/>
                      <a:gd name="T79" fmla="*/ 109 h 273"/>
                      <a:gd name="T80" fmla="*/ 97 w 181"/>
                      <a:gd name="T81" fmla="*/ 109 h 273"/>
                      <a:gd name="T82" fmla="*/ 97 w 181"/>
                      <a:gd name="T83" fmla="*/ 109 h 273"/>
                      <a:gd name="T84" fmla="*/ 59 w 181"/>
                      <a:gd name="T85" fmla="*/ 64 h 273"/>
                      <a:gd name="T86" fmla="*/ 67 w 181"/>
                      <a:gd name="T87" fmla="*/ 3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273">
                        <a:moveTo>
                          <a:pt x="144" y="151"/>
                        </a:moveTo>
                        <a:cubicBezTo>
                          <a:pt x="134" y="144"/>
                          <a:pt x="125" y="134"/>
                          <a:pt x="125" y="131"/>
                        </a:cubicBezTo>
                        <a:cubicBezTo>
                          <a:pt x="125" y="126"/>
                          <a:pt x="126" y="123"/>
                          <a:pt x="138" y="113"/>
                        </a:cubicBezTo>
                        <a:cubicBezTo>
                          <a:pt x="154" y="100"/>
                          <a:pt x="163" y="84"/>
                          <a:pt x="163" y="66"/>
                        </a:cubicBezTo>
                        <a:cubicBezTo>
                          <a:pt x="163" y="50"/>
                          <a:pt x="158" y="36"/>
                          <a:pt x="150" y="26"/>
                        </a:cubicBezTo>
                        <a:cubicBezTo>
                          <a:pt x="157" y="26"/>
                          <a:pt x="157" y="26"/>
                          <a:pt x="157" y="26"/>
                        </a:cubicBezTo>
                        <a:cubicBezTo>
                          <a:pt x="158" y="26"/>
                          <a:pt x="159" y="25"/>
                          <a:pt x="160" y="25"/>
                        </a:cubicBezTo>
                        <a:cubicBezTo>
                          <a:pt x="178" y="11"/>
                          <a:pt x="178" y="11"/>
                          <a:pt x="178" y="11"/>
                        </a:cubicBezTo>
                        <a:cubicBezTo>
                          <a:pt x="181" y="10"/>
                          <a:pt x="181" y="7"/>
                          <a:pt x="181" y="4"/>
                        </a:cubicBezTo>
                        <a:cubicBezTo>
                          <a:pt x="180" y="2"/>
                          <a:pt x="177" y="0"/>
                          <a:pt x="175" y="0"/>
                        </a:cubicBezTo>
                        <a:cubicBezTo>
                          <a:pt x="94" y="0"/>
                          <a:pt x="94" y="0"/>
                          <a:pt x="94" y="0"/>
                        </a:cubicBezTo>
                        <a:cubicBezTo>
                          <a:pt x="85" y="0"/>
                          <a:pt x="76" y="2"/>
                          <a:pt x="67" y="5"/>
                        </a:cubicBezTo>
                        <a:cubicBezTo>
                          <a:pt x="38" y="15"/>
                          <a:pt x="17" y="40"/>
                          <a:pt x="17" y="65"/>
                        </a:cubicBezTo>
                        <a:cubicBezTo>
                          <a:pt x="17" y="102"/>
                          <a:pt x="46" y="129"/>
                          <a:pt x="83" y="130"/>
                        </a:cubicBezTo>
                        <a:cubicBezTo>
                          <a:pt x="83" y="133"/>
                          <a:pt x="82" y="136"/>
                          <a:pt x="82" y="139"/>
                        </a:cubicBezTo>
                        <a:cubicBezTo>
                          <a:pt x="82" y="144"/>
                          <a:pt x="84" y="150"/>
                          <a:pt x="87" y="155"/>
                        </a:cubicBezTo>
                        <a:cubicBezTo>
                          <a:pt x="86" y="155"/>
                          <a:pt x="86" y="155"/>
                          <a:pt x="86" y="155"/>
                        </a:cubicBezTo>
                        <a:cubicBezTo>
                          <a:pt x="50" y="155"/>
                          <a:pt x="17" y="173"/>
                          <a:pt x="5" y="199"/>
                        </a:cubicBezTo>
                        <a:cubicBezTo>
                          <a:pt x="2" y="206"/>
                          <a:pt x="0" y="213"/>
                          <a:pt x="0" y="219"/>
                        </a:cubicBezTo>
                        <a:cubicBezTo>
                          <a:pt x="0" y="226"/>
                          <a:pt x="2" y="232"/>
                          <a:pt x="5" y="238"/>
                        </a:cubicBezTo>
                        <a:cubicBezTo>
                          <a:pt x="13" y="252"/>
                          <a:pt x="29" y="263"/>
                          <a:pt x="52" y="269"/>
                        </a:cubicBezTo>
                        <a:cubicBezTo>
                          <a:pt x="63" y="272"/>
                          <a:pt x="76" y="273"/>
                          <a:pt x="89" y="273"/>
                        </a:cubicBezTo>
                        <a:cubicBezTo>
                          <a:pt x="101" y="273"/>
                          <a:pt x="112" y="272"/>
                          <a:pt x="122" y="269"/>
                        </a:cubicBezTo>
                        <a:cubicBezTo>
                          <a:pt x="154" y="259"/>
                          <a:pt x="174" y="236"/>
                          <a:pt x="174" y="209"/>
                        </a:cubicBezTo>
                        <a:cubicBezTo>
                          <a:pt x="174" y="183"/>
                          <a:pt x="166" y="167"/>
                          <a:pt x="144" y="151"/>
                        </a:cubicBezTo>
                        <a:close/>
                        <a:moveTo>
                          <a:pt x="42" y="211"/>
                        </a:moveTo>
                        <a:cubicBezTo>
                          <a:pt x="42" y="192"/>
                          <a:pt x="66" y="175"/>
                          <a:pt x="93" y="175"/>
                        </a:cubicBezTo>
                        <a:cubicBezTo>
                          <a:pt x="94" y="175"/>
                          <a:pt x="94" y="175"/>
                          <a:pt x="94" y="175"/>
                        </a:cubicBezTo>
                        <a:cubicBezTo>
                          <a:pt x="100" y="175"/>
                          <a:pt x="106" y="176"/>
                          <a:pt x="111" y="178"/>
                        </a:cubicBezTo>
                        <a:cubicBezTo>
                          <a:pt x="113" y="179"/>
                          <a:pt x="115" y="180"/>
                          <a:pt x="117" y="181"/>
                        </a:cubicBezTo>
                        <a:cubicBezTo>
                          <a:pt x="130" y="190"/>
                          <a:pt x="138" y="196"/>
                          <a:pt x="140" y="205"/>
                        </a:cubicBezTo>
                        <a:cubicBezTo>
                          <a:pt x="141" y="207"/>
                          <a:pt x="141" y="210"/>
                          <a:pt x="141" y="212"/>
                        </a:cubicBezTo>
                        <a:cubicBezTo>
                          <a:pt x="141" y="236"/>
                          <a:pt x="123" y="247"/>
                          <a:pt x="89" y="247"/>
                        </a:cubicBezTo>
                        <a:cubicBezTo>
                          <a:pt x="62" y="247"/>
                          <a:pt x="42" y="231"/>
                          <a:pt x="42" y="211"/>
                        </a:cubicBezTo>
                        <a:close/>
                        <a:moveTo>
                          <a:pt x="67" y="32"/>
                        </a:moveTo>
                        <a:cubicBezTo>
                          <a:pt x="71" y="27"/>
                          <a:pt x="77" y="24"/>
                          <a:pt x="83" y="24"/>
                        </a:cubicBezTo>
                        <a:cubicBezTo>
                          <a:pt x="84" y="24"/>
                          <a:pt x="84" y="24"/>
                          <a:pt x="84" y="24"/>
                        </a:cubicBezTo>
                        <a:cubicBezTo>
                          <a:pt x="102" y="25"/>
                          <a:pt x="119" y="44"/>
                          <a:pt x="122" y="68"/>
                        </a:cubicBezTo>
                        <a:cubicBezTo>
                          <a:pt x="123" y="82"/>
                          <a:pt x="120" y="94"/>
                          <a:pt x="114" y="102"/>
                        </a:cubicBezTo>
                        <a:cubicBezTo>
                          <a:pt x="109" y="107"/>
                          <a:pt x="104" y="109"/>
                          <a:pt x="97" y="109"/>
                        </a:cubicBezTo>
                        <a:cubicBezTo>
                          <a:pt x="97" y="109"/>
                          <a:pt x="97" y="109"/>
                          <a:pt x="97" y="109"/>
                        </a:cubicBezTo>
                        <a:cubicBezTo>
                          <a:pt x="97" y="109"/>
                          <a:pt x="97" y="109"/>
                          <a:pt x="97" y="109"/>
                        </a:cubicBezTo>
                        <a:cubicBezTo>
                          <a:pt x="80" y="109"/>
                          <a:pt x="62" y="88"/>
                          <a:pt x="59" y="64"/>
                        </a:cubicBezTo>
                        <a:cubicBezTo>
                          <a:pt x="57" y="51"/>
                          <a:pt x="60" y="39"/>
                          <a:pt x="6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1"/>
                  <p:cNvSpPr>
                    <a:spLocks/>
                  </p:cNvSpPr>
                  <p:nvPr/>
                </p:nvSpPr>
                <p:spPr bwMode="auto">
                  <a:xfrm>
                    <a:off x="1696927" y="4774613"/>
                    <a:ext cx="50122" cy="55877"/>
                  </a:xfrm>
                  <a:custGeom>
                    <a:avLst/>
                    <a:gdLst>
                      <a:gd name="T0" fmla="*/ 252 w 252"/>
                      <a:gd name="T1" fmla="*/ 95 h 253"/>
                      <a:gd name="T2" fmla="*/ 157 w 252"/>
                      <a:gd name="T3" fmla="*/ 95 h 253"/>
                      <a:gd name="T4" fmla="*/ 157 w 252"/>
                      <a:gd name="T5" fmla="*/ 0 h 253"/>
                      <a:gd name="T6" fmla="*/ 95 w 252"/>
                      <a:gd name="T7" fmla="*/ 0 h 253"/>
                      <a:gd name="T8" fmla="*/ 95 w 252"/>
                      <a:gd name="T9" fmla="*/ 95 h 253"/>
                      <a:gd name="T10" fmla="*/ 0 w 252"/>
                      <a:gd name="T11" fmla="*/ 95 h 253"/>
                      <a:gd name="T12" fmla="*/ 0 w 252"/>
                      <a:gd name="T13" fmla="*/ 157 h 253"/>
                      <a:gd name="T14" fmla="*/ 95 w 252"/>
                      <a:gd name="T15" fmla="*/ 157 h 253"/>
                      <a:gd name="T16" fmla="*/ 95 w 252"/>
                      <a:gd name="T17" fmla="*/ 253 h 253"/>
                      <a:gd name="T18" fmla="*/ 157 w 252"/>
                      <a:gd name="T19" fmla="*/ 253 h 253"/>
                      <a:gd name="T20" fmla="*/ 157 w 252"/>
                      <a:gd name="T21" fmla="*/ 157 h 253"/>
                      <a:gd name="T22" fmla="*/ 252 w 252"/>
                      <a:gd name="T23" fmla="*/ 157 h 253"/>
                      <a:gd name="T24" fmla="*/ 252 w 252"/>
                      <a:gd name="T25" fmla="*/ 9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253">
                        <a:moveTo>
                          <a:pt x="252" y="95"/>
                        </a:moveTo>
                        <a:lnTo>
                          <a:pt x="157" y="95"/>
                        </a:lnTo>
                        <a:lnTo>
                          <a:pt x="157" y="0"/>
                        </a:lnTo>
                        <a:lnTo>
                          <a:pt x="95" y="0"/>
                        </a:lnTo>
                        <a:lnTo>
                          <a:pt x="95" y="95"/>
                        </a:lnTo>
                        <a:lnTo>
                          <a:pt x="0" y="95"/>
                        </a:lnTo>
                        <a:lnTo>
                          <a:pt x="0" y="157"/>
                        </a:lnTo>
                        <a:lnTo>
                          <a:pt x="95" y="157"/>
                        </a:lnTo>
                        <a:lnTo>
                          <a:pt x="95" y="253"/>
                        </a:lnTo>
                        <a:lnTo>
                          <a:pt x="157" y="253"/>
                        </a:lnTo>
                        <a:lnTo>
                          <a:pt x="157" y="157"/>
                        </a:lnTo>
                        <a:lnTo>
                          <a:pt x="252" y="157"/>
                        </a:lnTo>
                        <a:lnTo>
                          <a:pt x="252"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0" name="Group 89"/>
              <p:cNvGrpSpPr/>
              <p:nvPr/>
            </p:nvGrpSpPr>
            <p:grpSpPr>
              <a:xfrm>
                <a:off x="1928457" y="4675996"/>
                <a:ext cx="274027" cy="274028"/>
                <a:chOff x="1928457" y="4675996"/>
                <a:chExt cx="274027" cy="274028"/>
              </a:xfrm>
            </p:grpSpPr>
            <p:sp>
              <p:nvSpPr>
                <p:cNvPr id="60" name="Oval 59"/>
                <p:cNvSpPr/>
                <p:nvPr/>
              </p:nvSpPr>
              <p:spPr>
                <a:xfrm>
                  <a:off x="1928457" y="4675996"/>
                  <a:ext cx="274027" cy="27402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83" name="Freeform 15"/>
                <p:cNvSpPr>
                  <a:spLocks noChangeAspect="1" noEditPoints="1"/>
                </p:cNvSpPr>
                <p:nvPr/>
              </p:nvSpPr>
              <p:spPr bwMode="auto">
                <a:xfrm>
                  <a:off x="1989475" y="4741010"/>
                  <a:ext cx="151990" cy="144000"/>
                </a:xfrm>
                <a:custGeom>
                  <a:avLst/>
                  <a:gdLst>
                    <a:gd name="T0" fmla="*/ 171 w 714"/>
                    <a:gd name="T1" fmla="*/ 676 h 676"/>
                    <a:gd name="T2" fmla="*/ 1 w 714"/>
                    <a:gd name="T3" fmla="*/ 676 h 676"/>
                    <a:gd name="T4" fmla="*/ 1 w 714"/>
                    <a:gd name="T5" fmla="*/ 235 h 676"/>
                    <a:gd name="T6" fmla="*/ 171 w 714"/>
                    <a:gd name="T7" fmla="*/ 235 h 676"/>
                    <a:gd name="T8" fmla="*/ 171 w 714"/>
                    <a:gd name="T9" fmla="*/ 676 h 676"/>
                    <a:gd name="T10" fmla="*/ 85 w 714"/>
                    <a:gd name="T11" fmla="*/ 167 h 676"/>
                    <a:gd name="T12" fmla="*/ 85 w 714"/>
                    <a:gd name="T13" fmla="*/ 167 h 676"/>
                    <a:gd name="T14" fmla="*/ 0 w 714"/>
                    <a:gd name="T15" fmla="*/ 82 h 676"/>
                    <a:gd name="T16" fmla="*/ 86 w 714"/>
                    <a:gd name="T17" fmla="*/ 0 h 676"/>
                    <a:gd name="T18" fmla="*/ 172 w 714"/>
                    <a:gd name="T19" fmla="*/ 84 h 676"/>
                    <a:gd name="T20" fmla="*/ 85 w 714"/>
                    <a:gd name="T21" fmla="*/ 167 h 676"/>
                    <a:gd name="T22" fmla="*/ 476 w 714"/>
                    <a:gd name="T23" fmla="*/ 370 h 676"/>
                    <a:gd name="T24" fmla="*/ 408 w 714"/>
                    <a:gd name="T25" fmla="*/ 438 h 676"/>
                    <a:gd name="T26" fmla="*/ 408 w 714"/>
                    <a:gd name="T27" fmla="*/ 676 h 676"/>
                    <a:gd name="T28" fmla="*/ 239 w 714"/>
                    <a:gd name="T29" fmla="*/ 676 h 676"/>
                    <a:gd name="T30" fmla="*/ 239 w 714"/>
                    <a:gd name="T31" fmla="*/ 235 h 676"/>
                    <a:gd name="T32" fmla="*/ 408 w 714"/>
                    <a:gd name="T33" fmla="*/ 235 h 676"/>
                    <a:gd name="T34" fmla="*/ 408 w 714"/>
                    <a:gd name="T35" fmla="*/ 285 h 676"/>
                    <a:gd name="T36" fmla="*/ 542 w 714"/>
                    <a:gd name="T37" fmla="*/ 236 h 676"/>
                    <a:gd name="T38" fmla="*/ 714 w 714"/>
                    <a:gd name="T39" fmla="*/ 450 h 676"/>
                    <a:gd name="T40" fmla="*/ 714 w 714"/>
                    <a:gd name="T41" fmla="*/ 676 h 676"/>
                    <a:gd name="T42" fmla="*/ 544 w 714"/>
                    <a:gd name="T43" fmla="*/ 676 h 676"/>
                    <a:gd name="T44" fmla="*/ 544 w 714"/>
                    <a:gd name="T45" fmla="*/ 438 h 676"/>
                    <a:gd name="T46" fmla="*/ 476 w 714"/>
                    <a:gd name="T47" fmla="*/ 370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4" h="676">
                      <a:moveTo>
                        <a:pt x="171" y="676"/>
                      </a:moveTo>
                      <a:cubicBezTo>
                        <a:pt x="1" y="676"/>
                        <a:pt x="1" y="676"/>
                        <a:pt x="1" y="676"/>
                      </a:cubicBezTo>
                      <a:cubicBezTo>
                        <a:pt x="1" y="235"/>
                        <a:pt x="1" y="235"/>
                        <a:pt x="1" y="235"/>
                      </a:cubicBezTo>
                      <a:cubicBezTo>
                        <a:pt x="171" y="235"/>
                        <a:pt x="171" y="235"/>
                        <a:pt x="171" y="235"/>
                      </a:cubicBezTo>
                      <a:lnTo>
                        <a:pt x="171" y="676"/>
                      </a:lnTo>
                      <a:close/>
                      <a:moveTo>
                        <a:pt x="85" y="167"/>
                      </a:moveTo>
                      <a:cubicBezTo>
                        <a:pt x="85" y="167"/>
                        <a:pt x="85" y="167"/>
                        <a:pt x="85" y="167"/>
                      </a:cubicBezTo>
                      <a:cubicBezTo>
                        <a:pt x="33" y="167"/>
                        <a:pt x="0" y="126"/>
                        <a:pt x="0" y="82"/>
                      </a:cubicBezTo>
                      <a:cubicBezTo>
                        <a:pt x="0" y="37"/>
                        <a:pt x="34" y="0"/>
                        <a:pt x="86" y="0"/>
                      </a:cubicBezTo>
                      <a:cubicBezTo>
                        <a:pt x="139" y="0"/>
                        <a:pt x="171" y="38"/>
                        <a:pt x="172" y="84"/>
                      </a:cubicBezTo>
                      <a:cubicBezTo>
                        <a:pt x="172" y="128"/>
                        <a:pt x="139" y="167"/>
                        <a:pt x="85" y="167"/>
                      </a:cubicBezTo>
                      <a:close/>
                      <a:moveTo>
                        <a:pt x="476" y="370"/>
                      </a:moveTo>
                      <a:cubicBezTo>
                        <a:pt x="439" y="370"/>
                        <a:pt x="408" y="401"/>
                        <a:pt x="408" y="438"/>
                      </a:cubicBezTo>
                      <a:cubicBezTo>
                        <a:pt x="408" y="676"/>
                        <a:pt x="408" y="676"/>
                        <a:pt x="408" y="676"/>
                      </a:cubicBezTo>
                      <a:cubicBezTo>
                        <a:pt x="239" y="676"/>
                        <a:pt x="239" y="676"/>
                        <a:pt x="239" y="676"/>
                      </a:cubicBezTo>
                      <a:cubicBezTo>
                        <a:pt x="239" y="676"/>
                        <a:pt x="241" y="268"/>
                        <a:pt x="239" y="235"/>
                      </a:cubicBezTo>
                      <a:cubicBezTo>
                        <a:pt x="408" y="235"/>
                        <a:pt x="408" y="235"/>
                        <a:pt x="408" y="235"/>
                      </a:cubicBezTo>
                      <a:cubicBezTo>
                        <a:pt x="408" y="285"/>
                        <a:pt x="408" y="285"/>
                        <a:pt x="408" y="285"/>
                      </a:cubicBezTo>
                      <a:cubicBezTo>
                        <a:pt x="408" y="285"/>
                        <a:pt x="461" y="236"/>
                        <a:pt x="542" y="236"/>
                      </a:cubicBezTo>
                      <a:cubicBezTo>
                        <a:pt x="643" y="236"/>
                        <a:pt x="714" y="309"/>
                        <a:pt x="714" y="450"/>
                      </a:cubicBezTo>
                      <a:cubicBezTo>
                        <a:pt x="714" y="676"/>
                        <a:pt x="714" y="676"/>
                        <a:pt x="714" y="676"/>
                      </a:cubicBezTo>
                      <a:cubicBezTo>
                        <a:pt x="544" y="676"/>
                        <a:pt x="544" y="676"/>
                        <a:pt x="544" y="676"/>
                      </a:cubicBezTo>
                      <a:cubicBezTo>
                        <a:pt x="544" y="438"/>
                        <a:pt x="544" y="438"/>
                        <a:pt x="544" y="438"/>
                      </a:cubicBezTo>
                      <a:cubicBezTo>
                        <a:pt x="544" y="401"/>
                        <a:pt x="514" y="370"/>
                        <a:pt x="476" y="3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1" name="Group 90"/>
              <p:cNvGrpSpPr/>
              <p:nvPr/>
            </p:nvGrpSpPr>
            <p:grpSpPr>
              <a:xfrm>
                <a:off x="2313300" y="4675996"/>
                <a:ext cx="274027" cy="274028"/>
                <a:chOff x="2313300" y="4675996"/>
                <a:chExt cx="274027" cy="274028"/>
              </a:xfrm>
            </p:grpSpPr>
            <p:sp>
              <p:nvSpPr>
                <p:cNvPr id="58" name="Oval 57"/>
                <p:cNvSpPr/>
                <p:nvPr/>
              </p:nvSpPr>
              <p:spPr>
                <a:xfrm>
                  <a:off x="2313300" y="4675996"/>
                  <a:ext cx="274027" cy="27402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87" name="Freeform 19"/>
                <p:cNvSpPr>
                  <a:spLocks noChangeAspect="1" noEditPoints="1"/>
                </p:cNvSpPr>
                <p:nvPr/>
              </p:nvSpPr>
              <p:spPr bwMode="auto">
                <a:xfrm>
                  <a:off x="2374503" y="4759010"/>
                  <a:ext cx="151621" cy="108000"/>
                </a:xfrm>
                <a:custGeom>
                  <a:avLst/>
                  <a:gdLst>
                    <a:gd name="T0" fmla="*/ 178 w 213"/>
                    <a:gd name="T1" fmla="*/ 0 h 151"/>
                    <a:gd name="T2" fmla="*/ 35 w 213"/>
                    <a:gd name="T3" fmla="*/ 0 h 151"/>
                    <a:gd name="T4" fmla="*/ 0 w 213"/>
                    <a:gd name="T5" fmla="*/ 35 h 151"/>
                    <a:gd name="T6" fmla="*/ 0 w 213"/>
                    <a:gd name="T7" fmla="*/ 116 h 151"/>
                    <a:gd name="T8" fmla="*/ 35 w 213"/>
                    <a:gd name="T9" fmla="*/ 151 h 151"/>
                    <a:gd name="T10" fmla="*/ 178 w 213"/>
                    <a:gd name="T11" fmla="*/ 151 h 151"/>
                    <a:gd name="T12" fmla="*/ 213 w 213"/>
                    <a:gd name="T13" fmla="*/ 116 h 151"/>
                    <a:gd name="T14" fmla="*/ 213 w 213"/>
                    <a:gd name="T15" fmla="*/ 35 h 151"/>
                    <a:gd name="T16" fmla="*/ 178 w 213"/>
                    <a:gd name="T17" fmla="*/ 0 h 151"/>
                    <a:gd name="T18" fmla="*/ 147 w 213"/>
                    <a:gd name="T19" fmla="*/ 76 h 151"/>
                    <a:gd name="T20" fmla="*/ 87 w 213"/>
                    <a:gd name="T21" fmla="*/ 114 h 151"/>
                    <a:gd name="T22" fmla="*/ 84 w 213"/>
                    <a:gd name="T23" fmla="*/ 115 h 151"/>
                    <a:gd name="T24" fmla="*/ 82 w 213"/>
                    <a:gd name="T25" fmla="*/ 114 h 151"/>
                    <a:gd name="T26" fmla="*/ 80 w 213"/>
                    <a:gd name="T27" fmla="*/ 111 h 151"/>
                    <a:gd name="T28" fmla="*/ 80 w 213"/>
                    <a:gd name="T29" fmla="*/ 34 h 151"/>
                    <a:gd name="T30" fmla="*/ 82 w 213"/>
                    <a:gd name="T31" fmla="*/ 30 h 151"/>
                    <a:gd name="T32" fmla="*/ 87 w 213"/>
                    <a:gd name="T33" fmla="*/ 30 h 151"/>
                    <a:gd name="T34" fmla="*/ 147 w 213"/>
                    <a:gd name="T35" fmla="*/ 68 h 151"/>
                    <a:gd name="T36" fmla="*/ 149 w 213"/>
                    <a:gd name="T37" fmla="*/ 72 h 151"/>
                    <a:gd name="T38" fmla="*/ 147 w 213"/>
                    <a:gd name="T39" fmla="*/ 7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3" h="151">
                      <a:moveTo>
                        <a:pt x="178" y="0"/>
                      </a:moveTo>
                      <a:cubicBezTo>
                        <a:pt x="35" y="0"/>
                        <a:pt x="35" y="0"/>
                        <a:pt x="35" y="0"/>
                      </a:cubicBezTo>
                      <a:cubicBezTo>
                        <a:pt x="16" y="0"/>
                        <a:pt x="0" y="16"/>
                        <a:pt x="0" y="35"/>
                      </a:cubicBezTo>
                      <a:cubicBezTo>
                        <a:pt x="0" y="116"/>
                        <a:pt x="0" y="116"/>
                        <a:pt x="0" y="116"/>
                      </a:cubicBezTo>
                      <a:cubicBezTo>
                        <a:pt x="0" y="135"/>
                        <a:pt x="16" y="151"/>
                        <a:pt x="35" y="151"/>
                      </a:cubicBezTo>
                      <a:cubicBezTo>
                        <a:pt x="178" y="151"/>
                        <a:pt x="178" y="151"/>
                        <a:pt x="178" y="151"/>
                      </a:cubicBezTo>
                      <a:cubicBezTo>
                        <a:pt x="198" y="151"/>
                        <a:pt x="213" y="135"/>
                        <a:pt x="213" y="116"/>
                      </a:cubicBezTo>
                      <a:cubicBezTo>
                        <a:pt x="213" y="35"/>
                        <a:pt x="213" y="35"/>
                        <a:pt x="213" y="35"/>
                      </a:cubicBezTo>
                      <a:cubicBezTo>
                        <a:pt x="213" y="16"/>
                        <a:pt x="198" y="0"/>
                        <a:pt x="178" y="0"/>
                      </a:cubicBezTo>
                      <a:close/>
                      <a:moveTo>
                        <a:pt x="147" y="76"/>
                      </a:moveTo>
                      <a:cubicBezTo>
                        <a:pt x="87" y="114"/>
                        <a:pt x="87" y="114"/>
                        <a:pt x="87" y="114"/>
                      </a:cubicBezTo>
                      <a:cubicBezTo>
                        <a:pt x="86" y="115"/>
                        <a:pt x="85" y="115"/>
                        <a:pt x="84" y="115"/>
                      </a:cubicBezTo>
                      <a:cubicBezTo>
                        <a:pt x="84" y="115"/>
                        <a:pt x="83" y="115"/>
                        <a:pt x="82" y="114"/>
                      </a:cubicBezTo>
                      <a:cubicBezTo>
                        <a:pt x="81" y="114"/>
                        <a:pt x="80" y="112"/>
                        <a:pt x="80" y="111"/>
                      </a:cubicBezTo>
                      <a:cubicBezTo>
                        <a:pt x="80" y="34"/>
                        <a:pt x="80" y="34"/>
                        <a:pt x="80" y="34"/>
                      </a:cubicBezTo>
                      <a:cubicBezTo>
                        <a:pt x="80" y="32"/>
                        <a:pt x="81" y="30"/>
                        <a:pt x="82" y="30"/>
                      </a:cubicBezTo>
                      <a:cubicBezTo>
                        <a:pt x="84" y="29"/>
                        <a:pt x="85" y="29"/>
                        <a:pt x="87" y="30"/>
                      </a:cubicBezTo>
                      <a:cubicBezTo>
                        <a:pt x="147" y="68"/>
                        <a:pt x="147" y="68"/>
                        <a:pt x="147" y="68"/>
                      </a:cubicBezTo>
                      <a:cubicBezTo>
                        <a:pt x="148" y="69"/>
                        <a:pt x="149" y="71"/>
                        <a:pt x="149" y="72"/>
                      </a:cubicBezTo>
                      <a:cubicBezTo>
                        <a:pt x="149" y="74"/>
                        <a:pt x="148" y="75"/>
                        <a:pt x="147"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2" name="Group 91"/>
              <p:cNvGrpSpPr/>
              <p:nvPr/>
            </p:nvGrpSpPr>
            <p:grpSpPr>
              <a:xfrm>
                <a:off x="2698144" y="4675996"/>
                <a:ext cx="274027" cy="274028"/>
                <a:chOff x="2698144" y="4675996"/>
                <a:chExt cx="274027" cy="274028"/>
              </a:xfrm>
            </p:grpSpPr>
            <p:sp>
              <p:nvSpPr>
                <p:cNvPr id="65" name="Oval 64"/>
                <p:cNvSpPr/>
                <p:nvPr/>
              </p:nvSpPr>
              <p:spPr>
                <a:xfrm>
                  <a:off x="2698144" y="4675996"/>
                  <a:ext cx="274027" cy="27402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88" name="Freeform 20"/>
                <p:cNvSpPr>
                  <a:spLocks noChangeAspect="1"/>
                </p:cNvSpPr>
                <p:nvPr/>
              </p:nvSpPr>
              <p:spPr bwMode="auto">
                <a:xfrm>
                  <a:off x="2763724" y="4741010"/>
                  <a:ext cx="142866" cy="144000"/>
                </a:xfrm>
                <a:custGeom>
                  <a:avLst/>
                  <a:gdLst>
                    <a:gd name="T0" fmla="*/ 54 w 213"/>
                    <a:gd name="T1" fmla="*/ 17 h 214"/>
                    <a:gd name="T2" fmla="*/ 5 w 213"/>
                    <a:gd name="T3" fmla="*/ 75 h 214"/>
                    <a:gd name="T4" fmla="*/ 20 w 213"/>
                    <a:gd name="T5" fmla="*/ 139 h 214"/>
                    <a:gd name="T6" fmla="*/ 27 w 213"/>
                    <a:gd name="T7" fmla="*/ 136 h 214"/>
                    <a:gd name="T8" fmla="*/ 50 w 213"/>
                    <a:gd name="T9" fmla="*/ 117 h 214"/>
                    <a:gd name="T10" fmla="*/ 85 w 213"/>
                    <a:gd name="T11" fmla="*/ 43 h 214"/>
                    <a:gd name="T12" fmla="*/ 169 w 213"/>
                    <a:gd name="T13" fmla="*/ 80 h 214"/>
                    <a:gd name="T14" fmla="*/ 118 w 213"/>
                    <a:gd name="T15" fmla="*/ 127 h 214"/>
                    <a:gd name="T16" fmla="*/ 110 w 213"/>
                    <a:gd name="T17" fmla="*/ 122 h 214"/>
                    <a:gd name="T18" fmla="*/ 110 w 213"/>
                    <a:gd name="T19" fmla="*/ 87 h 214"/>
                    <a:gd name="T20" fmla="*/ 110 w 213"/>
                    <a:gd name="T21" fmla="*/ 69 h 214"/>
                    <a:gd name="T22" fmla="*/ 107 w 213"/>
                    <a:gd name="T23" fmla="*/ 66 h 214"/>
                    <a:gd name="T24" fmla="*/ 75 w 213"/>
                    <a:gd name="T25" fmla="*/ 65 h 214"/>
                    <a:gd name="T26" fmla="*/ 71 w 213"/>
                    <a:gd name="T27" fmla="*/ 69 h 214"/>
                    <a:gd name="T28" fmla="*/ 72 w 213"/>
                    <a:gd name="T29" fmla="*/ 156 h 214"/>
                    <a:gd name="T30" fmla="*/ 65 w 213"/>
                    <a:gd name="T31" fmla="*/ 179 h 214"/>
                    <a:gd name="T32" fmla="*/ 44 w 213"/>
                    <a:gd name="T33" fmla="*/ 174 h 214"/>
                    <a:gd name="T34" fmla="*/ 50 w 213"/>
                    <a:gd name="T35" fmla="*/ 208 h 214"/>
                    <a:gd name="T36" fmla="*/ 84 w 213"/>
                    <a:gd name="T37" fmla="*/ 211 h 214"/>
                    <a:gd name="T38" fmla="*/ 112 w 213"/>
                    <a:gd name="T39" fmla="*/ 155 h 214"/>
                    <a:gd name="T40" fmla="*/ 202 w 213"/>
                    <a:gd name="T41" fmla="*/ 116 h 214"/>
                    <a:gd name="T42" fmla="*/ 192 w 213"/>
                    <a:gd name="T43" fmla="*/ 44 h 214"/>
                    <a:gd name="T44" fmla="*/ 54 w 213"/>
                    <a:gd name="T45" fmla="*/ 1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3" h="214">
                      <a:moveTo>
                        <a:pt x="54" y="17"/>
                      </a:moveTo>
                      <a:cubicBezTo>
                        <a:pt x="28" y="28"/>
                        <a:pt x="10" y="48"/>
                        <a:pt x="5" y="75"/>
                      </a:cubicBezTo>
                      <a:cubicBezTo>
                        <a:pt x="0" y="101"/>
                        <a:pt x="7" y="125"/>
                        <a:pt x="20" y="139"/>
                      </a:cubicBezTo>
                      <a:cubicBezTo>
                        <a:pt x="23" y="138"/>
                        <a:pt x="25" y="137"/>
                        <a:pt x="27" y="136"/>
                      </a:cubicBezTo>
                      <a:cubicBezTo>
                        <a:pt x="36" y="131"/>
                        <a:pt x="42" y="123"/>
                        <a:pt x="50" y="117"/>
                      </a:cubicBezTo>
                      <a:cubicBezTo>
                        <a:pt x="25" y="87"/>
                        <a:pt x="52" y="51"/>
                        <a:pt x="85" y="43"/>
                      </a:cubicBezTo>
                      <a:cubicBezTo>
                        <a:pt x="117" y="35"/>
                        <a:pt x="159" y="48"/>
                        <a:pt x="169" y="80"/>
                      </a:cubicBezTo>
                      <a:cubicBezTo>
                        <a:pt x="178" y="112"/>
                        <a:pt x="151" y="135"/>
                        <a:pt x="118" y="127"/>
                      </a:cubicBezTo>
                      <a:cubicBezTo>
                        <a:pt x="113" y="126"/>
                        <a:pt x="110" y="126"/>
                        <a:pt x="110" y="122"/>
                      </a:cubicBezTo>
                      <a:cubicBezTo>
                        <a:pt x="110" y="87"/>
                        <a:pt x="110" y="87"/>
                        <a:pt x="110" y="87"/>
                      </a:cubicBezTo>
                      <a:cubicBezTo>
                        <a:pt x="110" y="69"/>
                        <a:pt x="110" y="69"/>
                        <a:pt x="110" y="69"/>
                      </a:cubicBezTo>
                      <a:cubicBezTo>
                        <a:pt x="110" y="65"/>
                        <a:pt x="110" y="66"/>
                        <a:pt x="107" y="66"/>
                      </a:cubicBezTo>
                      <a:cubicBezTo>
                        <a:pt x="97" y="65"/>
                        <a:pt x="84" y="64"/>
                        <a:pt x="75" y="65"/>
                      </a:cubicBezTo>
                      <a:cubicBezTo>
                        <a:pt x="71" y="66"/>
                        <a:pt x="71" y="65"/>
                        <a:pt x="71" y="69"/>
                      </a:cubicBezTo>
                      <a:cubicBezTo>
                        <a:pt x="71" y="92"/>
                        <a:pt x="72" y="155"/>
                        <a:pt x="72" y="156"/>
                      </a:cubicBezTo>
                      <a:cubicBezTo>
                        <a:pt x="72" y="162"/>
                        <a:pt x="72" y="176"/>
                        <a:pt x="65" y="179"/>
                      </a:cubicBezTo>
                      <a:cubicBezTo>
                        <a:pt x="57" y="182"/>
                        <a:pt x="51" y="175"/>
                        <a:pt x="44" y="174"/>
                      </a:cubicBezTo>
                      <a:cubicBezTo>
                        <a:pt x="45" y="183"/>
                        <a:pt x="38" y="203"/>
                        <a:pt x="50" y="208"/>
                      </a:cubicBezTo>
                      <a:cubicBezTo>
                        <a:pt x="61" y="213"/>
                        <a:pt x="73" y="214"/>
                        <a:pt x="84" y="211"/>
                      </a:cubicBezTo>
                      <a:cubicBezTo>
                        <a:pt x="107" y="203"/>
                        <a:pt x="115" y="177"/>
                        <a:pt x="112" y="155"/>
                      </a:cubicBezTo>
                      <a:cubicBezTo>
                        <a:pt x="148" y="166"/>
                        <a:pt x="187" y="148"/>
                        <a:pt x="202" y="116"/>
                      </a:cubicBezTo>
                      <a:cubicBezTo>
                        <a:pt x="213" y="92"/>
                        <a:pt x="208" y="64"/>
                        <a:pt x="192" y="44"/>
                      </a:cubicBezTo>
                      <a:cubicBezTo>
                        <a:pt x="161" y="7"/>
                        <a:pt x="98" y="0"/>
                        <a:pt x="5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nvGrpSpPr>
          <p:cNvPr id="25" name="Group 24"/>
          <p:cNvGrpSpPr/>
          <p:nvPr/>
        </p:nvGrpSpPr>
        <p:grpSpPr>
          <a:xfrm>
            <a:off x="5958403" y="1992043"/>
            <a:ext cx="2482249" cy="1318186"/>
            <a:chOff x="6095999" y="1666728"/>
            <a:chExt cx="2482249" cy="1318186"/>
          </a:xfrm>
        </p:grpSpPr>
        <p:sp>
          <p:nvSpPr>
            <p:cNvPr id="7" name="TextBox 6"/>
            <p:cNvSpPr txBox="1"/>
            <p:nvPr/>
          </p:nvSpPr>
          <p:spPr>
            <a:xfrm>
              <a:off x="6096000" y="2430916"/>
              <a:ext cx="2482248" cy="553998"/>
            </a:xfrm>
            <a:prstGeom prst="rect">
              <a:avLst/>
            </a:prstGeom>
            <a:noFill/>
            <a:ln w="6350">
              <a:noFill/>
              <a:prstDash val="dash"/>
            </a:ln>
          </p:spPr>
          <p:txBody>
            <a:bodyPr wrap="square" lIns="0" tIns="0" rIns="0" bIns="0" rtlCol="0">
              <a:spAutoFit/>
            </a:bodyPr>
            <a:lstStyle/>
            <a:p>
              <a:r>
                <a:rPr lang="en-US" sz="1200" dirty="0">
                  <a:solidFill>
                    <a:schemeClr val="tx1">
                      <a:lumMod val="75000"/>
                      <a:lumOff val="25000"/>
                    </a:schemeClr>
                  </a:solidFill>
                </a:rPr>
                <a:t>We work closely with design teams to offer customized sealing solutions for various industries.</a:t>
              </a:r>
            </a:p>
          </p:txBody>
        </p:sp>
        <p:sp>
          <p:nvSpPr>
            <p:cNvPr id="8" name="TextBox 7"/>
            <p:cNvSpPr txBox="1"/>
            <p:nvPr/>
          </p:nvSpPr>
          <p:spPr>
            <a:xfrm>
              <a:off x="6095999" y="2130678"/>
              <a:ext cx="2223571" cy="215444"/>
            </a:xfrm>
            <a:prstGeom prst="rect">
              <a:avLst/>
            </a:prstGeom>
            <a:noFill/>
            <a:ln w="6350">
              <a:noFill/>
              <a:prstDash val="dash"/>
            </a:ln>
          </p:spPr>
          <p:txBody>
            <a:bodyPr wrap="square" lIns="0" tIns="0" rIns="0" bIns="0" rtlCol="0">
              <a:spAutoFit/>
            </a:bodyPr>
            <a:lstStyle/>
            <a:p>
              <a:r>
                <a:rPr lang="en-US" sz="1400" b="1" dirty="0">
                  <a:solidFill>
                    <a:schemeClr val="tx1">
                      <a:lumMod val="75000"/>
                      <a:lumOff val="25000"/>
                    </a:schemeClr>
                  </a:solidFill>
                </a:rPr>
                <a:t>IDEA CONCEPTUALISATION</a:t>
              </a:r>
            </a:p>
          </p:txBody>
        </p:sp>
        <p:grpSp>
          <p:nvGrpSpPr>
            <p:cNvPr id="10" name="Group 9"/>
            <p:cNvGrpSpPr>
              <a:grpSpLocks noChangeAspect="1"/>
            </p:cNvGrpSpPr>
            <p:nvPr/>
          </p:nvGrpSpPr>
          <p:grpSpPr>
            <a:xfrm>
              <a:off x="6096000" y="1666728"/>
              <a:ext cx="396000" cy="396000"/>
              <a:chOff x="11045825" y="2247900"/>
              <a:chExt cx="258763" cy="258763"/>
            </a:xfrm>
            <a:solidFill>
              <a:schemeClr val="bg1"/>
            </a:solidFill>
          </p:grpSpPr>
          <p:sp>
            <p:nvSpPr>
              <p:cNvPr id="11" name="Freeform 207"/>
              <p:cNvSpPr>
                <a:spLocks/>
              </p:cNvSpPr>
              <p:nvPr/>
            </p:nvSpPr>
            <p:spPr bwMode="auto">
              <a:xfrm>
                <a:off x="11155363" y="2478088"/>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6 h 30"/>
                  <a:gd name="T30" fmla="*/ 9 w 120"/>
                  <a:gd name="T31" fmla="*/ 29 h 30"/>
                  <a:gd name="T32" fmla="*/ 12 w 120"/>
                  <a:gd name="T33" fmla="*/ 29 h 30"/>
                  <a:gd name="T34" fmla="*/ 15 w 120"/>
                  <a:gd name="T35" fmla="*/ 30 h 30"/>
                  <a:gd name="T36" fmla="*/ 105 w 120"/>
                  <a:gd name="T37" fmla="*/ 30 h 30"/>
                  <a:gd name="T38" fmla="*/ 109 w 120"/>
                  <a:gd name="T39" fmla="*/ 29 h 30"/>
                  <a:gd name="T40" fmla="*/ 111 w 120"/>
                  <a:gd name="T41" fmla="*/ 29 h 30"/>
                  <a:gd name="T42" fmla="*/ 114 w 120"/>
                  <a:gd name="T43" fmla="*/ 26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29"/>
                    </a:lnTo>
                    <a:lnTo>
                      <a:pt x="15" y="30"/>
                    </a:lnTo>
                    <a:lnTo>
                      <a:pt x="105" y="30"/>
                    </a:lnTo>
                    <a:lnTo>
                      <a:pt x="109" y="29"/>
                    </a:lnTo>
                    <a:lnTo>
                      <a:pt x="111" y="29"/>
                    </a:lnTo>
                    <a:lnTo>
                      <a:pt x="114" y="26"/>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9" y="0"/>
                    </a:lnTo>
                    <a:lnTo>
                      <a:pt x="105" y="0"/>
                    </a:lnTo>
                    <a:close/>
                  </a:path>
                </a:pathLst>
              </a:custGeom>
              <a:gradFill>
                <a:gsLst>
                  <a:gs pos="1000">
                    <a:schemeClr val="tx2"/>
                  </a:gs>
                  <a:gs pos="10000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208"/>
              <p:cNvSpPr>
                <a:spLocks/>
              </p:cNvSpPr>
              <p:nvPr/>
            </p:nvSpPr>
            <p:spPr bwMode="auto">
              <a:xfrm>
                <a:off x="11164888" y="2497138"/>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5 w 60"/>
                  <a:gd name="T27" fmla="*/ 25 h 30"/>
                  <a:gd name="T28" fmla="*/ 7 w 60"/>
                  <a:gd name="T29" fmla="*/ 28 h 30"/>
                  <a:gd name="T30" fmla="*/ 9 w 60"/>
                  <a:gd name="T31" fmla="*/ 29 h 30"/>
                  <a:gd name="T32" fmla="*/ 12 w 60"/>
                  <a:gd name="T33" fmla="*/ 30 h 30"/>
                  <a:gd name="T34" fmla="*/ 15 w 60"/>
                  <a:gd name="T35" fmla="*/ 30 h 30"/>
                  <a:gd name="T36" fmla="*/ 45 w 60"/>
                  <a:gd name="T37" fmla="*/ 30 h 30"/>
                  <a:gd name="T38" fmla="*/ 49 w 60"/>
                  <a:gd name="T39" fmla="*/ 30 h 30"/>
                  <a:gd name="T40" fmla="*/ 51 w 60"/>
                  <a:gd name="T41" fmla="*/ 29 h 30"/>
                  <a:gd name="T42" fmla="*/ 54 w 60"/>
                  <a:gd name="T43" fmla="*/ 28 h 30"/>
                  <a:gd name="T44" fmla="*/ 56 w 60"/>
                  <a:gd name="T45" fmla="*/ 25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8"/>
                    </a:lnTo>
                    <a:lnTo>
                      <a:pt x="1" y="20"/>
                    </a:lnTo>
                    <a:lnTo>
                      <a:pt x="3" y="23"/>
                    </a:lnTo>
                    <a:lnTo>
                      <a:pt x="5" y="25"/>
                    </a:lnTo>
                    <a:lnTo>
                      <a:pt x="7" y="28"/>
                    </a:lnTo>
                    <a:lnTo>
                      <a:pt x="9" y="29"/>
                    </a:lnTo>
                    <a:lnTo>
                      <a:pt x="12" y="30"/>
                    </a:lnTo>
                    <a:lnTo>
                      <a:pt x="15" y="30"/>
                    </a:lnTo>
                    <a:lnTo>
                      <a:pt x="45" y="30"/>
                    </a:lnTo>
                    <a:lnTo>
                      <a:pt x="49" y="30"/>
                    </a:lnTo>
                    <a:lnTo>
                      <a:pt x="51" y="29"/>
                    </a:lnTo>
                    <a:lnTo>
                      <a:pt x="54" y="28"/>
                    </a:lnTo>
                    <a:lnTo>
                      <a:pt x="56" y="25"/>
                    </a:lnTo>
                    <a:lnTo>
                      <a:pt x="57" y="23"/>
                    </a:lnTo>
                    <a:lnTo>
                      <a:pt x="59" y="20"/>
                    </a:lnTo>
                    <a:lnTo>
                      <a:pt x="60" y="18"/>
                    </a:lnTo>
                    <a:lnTo>
                      <a:pt x="60" y="15"/>
                    </a:lnTo>
                    <a:lnTo>
                      <a:pt x="60" y="12"/>
                    </a:lnTo>
                    <a:lnTo>
                      <a:pt x="59" y="8"/>
                    </a:lnTo>
                    <a:lnTo>
                      <a:pt x="57" y="6"/>
                    </a:lnTo>
                    <a:lnTo>
                      <a:pt x="56" y="4"/>
                    </a:lnTo>
                    <a:lnTo>
                      <a:pt x="54" y="2"/>
                    </a:lnTo>
                    <a:lnTo>
                      <a:pt x="51" y="1"/>
                    </a:lnTo>
                    <a:lnTo>
                      <a:pt x="49" y="0"/>
                    </a:lnTo>
                    <a:lnTo>
                      <a:pt x="45" y="0"/>
                    </a:lnTo>
                    <a:close/>
                  </a:path>
                </a:pathLst>
              </a:custGeom>
              <a:gradFill>
                <a:gsLst>
                  <a:gs pos="1000">
                    <a:schemeClr val="tx2"/>
                  </a:gs>
                  <a:gs pos="10000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209"/>
              <p:cNvSpPr>
                <a:spLocks noEditPoints="1"/>
              </p:cNvSpPr>
              <p:nvPr/>
            </p:nvSpPr>
            <p:spPr bwMode="auto">
              <a:xfrm>
                <a:off x="11093450" y="2290763"/>
                <a:ext cx="163513" cy="177800"/>
              </a:xfrm>
              <a:custGeom>
                <a:avLst/>
                <a:gdLst>
                  <a:gd name="T0" fmla="*/ 303 w 512"/>
                  <a:gd name="T1" fmla="*/ 484 h 558"/>
                  <a:gd name="T2" fmla="*/ 211 w 512"/>
                  <a:gd name="T3" fmla="*/ 489 h 558"/>
                  <a:gd name="T4" fmla="*/ 200 w 512"/>
                  <a:gd name="T5" fmla="*/ 475 h 558"/>
                  <a:gd name="T6" fmla="*/ 131 w 512"/>
                  <a:gd name="T7" fmla="*/ 444 h 558"/>
                  <a:gd name="T8" fmla="*/ 77 w 512"/>
                  <a:gd name="T9" fmla="*/ 395 h 558"/>
                  <a:gd name="T10" fmla="*/ 43 w 512"/>
                  <a:gd name="T11" fmla="*/ 330 h 558"/>
                  <a:gd name="T12" fmla="*/ 30 w 512"/>
                  <a:gd name="T13" fmla="*/ 256 h 558"/>
                  <a:gd name="T14" fmla="*/ 35 w 512"/>
                  <a:gd name="T15" fmla="*/ 211 h 558"/>
                  <a:gd name="T16" fmla="*/ 48 w 512"/>
                  <a:gd name="T17" fmla="*/ 168 h 558"/>
                  <a:gd name="T18" fmla="*/ 97 w 512"/>
                  <a:gd name="T19" fmla="*/ 97 h 558"/>
                  <a:gd name="T20" fmla="*/ 168 w 512"/>
                  <a:gd name="T21" fmla="*/ 48 h 558"/>
                  <a:gd name="T22" fmla="*/ 210 w 512"/>
                  <a:gd name="T23" fmla="*/ 35 h 558"/>
                  <a:gd name="T24" fmla="*/ 256 w 512"/>
                  <a:gd name="T25" fmla="*/ 30 h 558"/>
                  <a:gd name="T26" fmla="*/ 301 w 512"/>
                  <a:gd name="T27" fmla="*/ 35 h 558"/>
                  <a:gd name="T28" fmla="*/ 344 w 512"/>
                  <a:gd name="T29" fmla="*/ 48 h 558"/>
                  <a:gd name="T30" fmla="*/ 416 w 512"/>
                  <a:gd name="T31" fmla="*/ 97 h 558"/>
                  <a:gd name="T32" fmla="*/ 464 w 512"/>
                  <a:gd name="T33" fmla="*/ 168 h 558"/>
                  <a:gd name="T34" fmla="*/ 477 w 512"/>
                  <a:gd name="T35" fmla="*/ 211 h 558"/>
                  <a:gd name="T36" fmla="*/ 482 w 512"/>
                  <a:gd name="T37" fmla="*/ 256 h 558"/>
                  <a:gd name="T38" fmla="*/ 470 w 512"/>
                  <a:gd name="T39" fmla="*/ 330 h 558"/>
                  <a:gd name="T40" fmla="*/ 434 w 512"/>
                  <a:gd name="T41" fmla="*/ 395 h 558"/>
                  <a:gd name="T42" fmla="*/ 381 w 512"/>
                  <a:gd name="T43" fmla="*/ 444 h 558"/>
                  <a:gd name="T44" fmla="*/ 312 w 512"/>
                  <a:gd name="T45" fmla="*/ 475 h 558"/>
                  <a:gd name="T46" fmla="*/ 218 w 512"/>
                  <a:gd name="T47" fmla="*/ 3 h 558"/>
                  <a:gd name="T48" fmla="*/ 168 w 512"/>
                  <a:gd name="T49" fmla="*/ 16 h 558"/>
                  <a:gd name="T50" fmla="*/ 123 w 512"/>
                  <a:gd name="T51" fmla="*/ 38 h 558"/>
                  <a:gd name="T52" fmla="*/ 84 w 512"/>
                  <a:gd name="T53" fmla="*/ 67 h 558"/>
                  <a:gd name="T54" fmla="*/ 52 w 512"/>
                  <a:gd name="T55" fmla="*/ 103 h 558"/>
                  <a:gd name="T56" fmla="*/ 26 w 512"/>
                  <a:gd name="T57" fmla="*/ 146 h 558"/>
                  <a:gd name="T58" fmla="*/ 9 w 512"/>
                  <a:gd name="T59" fmla="*/ 192 h 558"/>
                  <a:gd name="T60" fmla="*/ 0 w 512"/>
                  <a:gd name="T61" fmla="*/ 243 h 558"/>
                  <a:gd name="T62" fmla="*/ 8 w 512"/>
                  <a:gd name="T63" fmla="*/ 317 h 558"/>
                  <a:gd name="T64" fmla="*/ 39 w 512"/>
                  <a:gd name="T65" fmla="*/ 391 h 558"/>
                  <a:gd name="T66" fmla="*/ 91 w 512"/>
                  <a:gd name="T67" fmla="*/ 451 h 558"/>
                  <a:gd name="T68" fmla="*/ 161 w 512"/>
                  <a:gd name="T69" fmla="*/ 493 h 558"/>
                  <a:gd name="T70" fmla="*/ 182 w 512"/>
                  <a:gd name="T71" fmla="*/ 548 h 558"/>
                  <a:gd name="T72" fmla="*/ 190 w 512"/>
                  <a:gd name="T73" fmla="*/ 557 h 558"/>
                  <a:gd name="T74" fmla="*/ 320 w 512"/>
                  <a:gd name="T75" fmla="*/ 557 h 558"/>
                  <a:gd name="T76" fmla="*/ 329 w 512"/>
                  <a:gd name="T77" fmla="*/ 550 h 558"/>
                  <a:gd name="T78" fmla="*/ 331 w 512"/>
                  <a:gd name="T79" fmla="*/ 501 h 558"/>
                  <a:gd name="T80" fmla="*/ 404 w 512"/>
                  <a:gd name="T81" fmla="*/ 464 h 558"/>
                  <a:gd name="T82" fmla="*/ 462 w 512"/>
                  <a:gd name="T83" fmla="*/ 409 h 558"/>
                  <a:gd name="T84" fmla="*/ 499 w 512"/>
                  <a:gd name="T85" fmla="*/ 338 h 558"/>
                  <a:gd name="T86" fmla="*/ 512 w 512"/>
                  <a:gd name="T87" fmla="*/ 256 h 558"/>
                  <a:gd name="T88" fmla="*/ 507 w 512"/>
                  <a:gd name="T89" fmla="*/ 205 h 558"/>
                  <a:gd name="T90" fmla="*/ 492 w 512"/>
                  <a:gd name="T91" fmla="*/ 157 h 558"/>
                  <a:gd name="T92" fmla="*/ 469 w 512"/>
                  <a:gd name="T93" fmla="*/ 114 h 558"/>
                  <a:gd name="T94" fmla="*/ 437 w 512"/>
                  <a:gd name="T95" fmla="*/ 75 h 558"/>
                  <a:gd name="T96" fmla="*/ 399 w 512"/>
                  <a:gd name="T97" fmla="*/ 44 h 558"/>
                  <a:gd name="T98" fmla="*/ 356 w 512"/>
                  <a:gd name="T99" fmla="*/ 20 h 558"/>
                  <a:gd name="T100" fmla="*/ 308 w 512"/>
                  <a:gd name="T101" fmla="*/ 5 h 558"/>
                  <a:gd name="T102" fmla="*/ 256 w 512"/>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58">
                    <a:moveTo>
                      <a:pt x="312" y="475"/>
                    </a:moveTo>
                    <a:lnTo>
                      <a:pt x="308" y="476"/>
                    </a:lnTo>
                    <a:lnTo>
                      <a:pt x="305" y="480"/>
                    </a:lnTo>
                    <a:lnTo>
                      <a:pt x="303" y="484"/>
                    </a:lnTo>
                    <a:lnTo>
                      <a:pt x="301" y="489"/>
                    </a:lnTo>
                    <a:lnTo>
                      <a:pt x="301" y="528"/>
                    </a:lnTo>
                    <a:lnTo>
                      <a:pt x="211" y="528"/>
                    </a:lnTo>
                    <a:lnTo>
                      <a:pt x="211" y="489"/>
                    </a:lnTo>
                    <a:lnTo>
                      <a:pt x="210" y="484"/>
                    </a:lnTo>
                    <a:lnTo>
                      <a:pt x="208" y="480"/>
                    </a:lnTo>
                    <a:lnTo>
                      <a:pt x="204" y="476"/>
                    </a:lnTo>
                    <a:lnTo>
                      <a:pt x="200" y="475"/>
                    </a:lnTo>
                    <a:lnTo>
                      <a:pt x="181" y="469"/>
                    </a:lnTo>
                    <a:lnTo>
                      <a:pt x="164" y="462"/>
                    </a:lnTo>
                    <a:lnTo>
                      <a:pt x="147" y="454"/>
                    </a:lnTo>
                    <a:lnTo>
                      <a:pt x="131" y="444"/>
                    </a:lnTo>
                    <a:lnTo>
                      <a:pt x="116" y="433"/>
                    </a:lnTo>
                    <a:lnTo>
                      <a:pt x="102" y="421"/>
                    </a:lnTo>
                    <a:lnTo>
                      <a:pt x="89" y="409"/>
                    </a:lnTo>
                    <a:lnTo>
                      <a:pt x="77" y="395"/>
                    </a:lnTo>
                    <a:lnTo>
                      <a:pt x="67" y="380"/>
                    </a:lnTo>
                    <a:lnTo>
                      <a:pt x="58" y="364"/>
                    </a:lnTo>
                    <a:lnTo>
                      <a:pt x="49" y="347"/>
                    </a:lnTo>
                    <a:lnTo>
                      <a:pt x="43" y="330"/>
                    </a:lnTo>
                    <a:lnTo>
                      <a:pt x="38" y="312"/>
                    </a:lnTo>
                    <a:lnTo>
                      <a:pt x="33" y="294"/>
                    </a:lnTo>
                    <a:lnTo>
                      <a:pt x="31" y="276"/>
                    </a:lnTo>
                    <a:lnTo>
                      <a:pt x="30" y="256"/>
                    </a:lnTo>
                    <a:lnTo>
                      <a:pt x="31" y="245"/>
                    </a:lnTo>
                    <a:lnTo>
                      <a:pt x="31" y="233"/>
                    </a:lnTo>
                    <a:lnTo>
                      <a:pt x="33" y="222"/>
                    </a:lnTo>
                    <a:lnTo>
                      <a:pt x="35" y="211"/>
                    </a:lnTo>
                    <a:lnTo>
                      <a:pt x="38" y="199"/>
                    </a:lnTo>
                    <a:lnTo>
                      <a:pt x="41" y="189"/>
                    </a:lnTo>
                    <a:lnTo>
                      <a:pt x="44" y="179"/>
                    </a:lnTo>
                    <a:lnTo>
                      <a:pt x="48" y="168"/>
                    </a:lnTo>
                    <a:lnTo>
                      <a:pt x="58" y="149"/>
                    </a:lnTo>
                    <a:lnTo>
                      <a:pt x="69" y="130"/>
                    </a:lnTo>
                    <a:lnTo>
                      <a:pt x="82" y="113"/>
                    </a:lnTo>
                    <a:lnTo>
                      <a:pt x="97" y="97"/>
                    </a:lnTo>
                    <a:lnTo>
                      <a:pt x="113" y="83"/>
                    </a:lnTo>
                    <a:lnTo>
                      <a:pt x="130" y="69"/>
                    </a:lnTo>
                    <a:lnTo>
                      <a:pt x="149" y="58"/>
                    </a:lnTo>
                    <a:lnTo>
                      <a:pt x="168" y="48"/>
                    </a:lnTo>
                    <a:lnTo>
                      <a:pt x="178" y="44"/>
                    </a:lnTo>
                    <a:lnTo>
                      <a:pt x="189" y="41"/>
                    </a:lnTo>
                    <a:lnTo>
                      <a:pt x="200" y="38"/>
                    </a:lnTo>
                    <a:lnTo>
                      <a:pt x="210" y="35"/>
                    </a:lnTo>
                    <a:lnTo>
                      <a:pt x="222" y="33"/>
                    </a:lnTo>
                    <a:lnTo>
                      <a:pt x="233" y="32"/>
                    </a:lnTo>
                    <a:lnTo>
                      <a:pt x="245" y="31"/>
                    </a:lnTo>
                    <a:lnTo>
                      <a:pt x="256" y="30"/>
                    </a:lnTo>
                    <a:lnTo>
                      <a:pt x="268" y="31"/>
                    </a:lnTo>
                    <a:lnTo>
                      <a:pt x="279" y="31"/>
                    </a:lnTo>
                    <a:lnTo>
                      <a:pt x="291" y="33"/>
                    </a:lnTo>
                    <a:lnTo>
                      <a:pt x="301" y="35"/>
                    </a:lnTo>
                    <a:lnTo>
                      <a:pt x="312" y="38"/>
                    </a:lnTo>
                    <a:lnTo>
                      <a:pt x="323" y="41"/>
                    </a:lnTo>
                    <a:lnTo>
                      <a:pt x="334" y="44"/>
                    </a:lnTo>
                    <a:lnTo>
                      <a:pt x="344" y="48"/>
                    </a:lnTo>
                    <a:lnTo>
                      <a:pt x="364" y="58"/>
                    </a:lnTo>
                    <a:lnTo>
                      <a:pt x="382" y="69"/>
                    </a:lnTo>
                    <a:lnTo>
                      <a:pt x="400" y="83"/>
                    </a:lnTo>
                    <a:lnTo>
                      <a:pt x="416" y="97"/>
                    </a:lnTo>
                    <a:lnTo>
                      <a:pt x="430" y="113"/>
                    </a:lnTo>
                    <a:lnTo>
                      <a:pt x="443" y="130"/>
                    </a:lnTo>
                    <a:lnTo>
                      <a:pt x="455" y="149"/>
                    </a:lnTo>
                    <a:lnTo>
                      <a:pt x="464" y="168"/>
                    </a:lnTo>
                    <a:lnTo>
                      <a:pt x="468" y="179"/>
                    </a:lnTo>
                    <a:lnTo>
                      <a:pt x="472" y="189"/>
                    </a:lnTo>
                    <a:lnTo>
                      <a:pt x="475" y="199"/>
                    </a:lnTo>
                    <a:lnTo>
                      <a:pt x="477" y="211"/>
                    </a:lnTo>
                    <a:lnTo>
                      <a:pt x="479" y="222"/>
                    </a:lnTo>
                    <a:lnTo>
                      <a:pt x="481" y="233"/>
                    </a:lnTo>
                    <a:lnTo>
                      <a:pt x="482" y="245"/>
                    </a:lnTo>
                    <a:lnTo>
                      <a:pt x="482" y="256"/>
                    </a:lnTo>
                    <a:lnTo>
                      <a:pt x="482" y="276"/>
                    </a:lnTo>
                    <a:lnTo>
                      <a:pt x="478" y="294"/>
                    </a:lnTo>
                    <a:lnTo>
                      <a:pt x="475" y="312"/>
                    </a:lnTo>
                    <a:lnTo>
                      <a:pt x="470" y="330"/>
                    </a:lnTo>
                    <a:lnTo>
                      <a:pt x="462" y="347"/>
                    </a:lnTo>
                    <a:lnTo>
                      <a:pt x="455" y="364"/>
                    </a:lnTo>
                    <a:lnTo>
                      <a:pt x="445" y="380"/>
                    </a:lnTo>
                    <a:lnTo>
                      <a:pt x="434" y="395"/>
                    </a:lnTo>
                    <a:lnTo>
                      <a:pt x="423" y="409"/>
                    </a:lnTo>
                    <a:lnTo>
                      <a:pt x="410" y="421"/>
                    </a:lnTo>
                    <a:lnTo>
                      <a:pt x="396" y="433"/>
                    </a:lnTo>
                    <a:lnTo>
                      <a:pt x="381" y="444"/>
                    </a:lnTo>
                    <a:lnTo>
                      <a:pt x="365" y="454"/>
                    </a:lnTo>
                    <a:lnTo>
                      <a:pt x="349" y="462"/>
                    </a:lnTo>
                    <a:lnTo>
                      <a:pt x="331" y="469"/>
                    </a:lnTo>
                    <a:lnTo>
                      <a:pt x="312" y="475"/>
                    </a:lnTo>
                    <a:close/>
                    <a:moveTo>
                      <a:pt x="256" y="0"/>
                    </a:moveTo>
                    <a:lnTo>
                      <a:pt x="244" y="1"/>
                    </a:lnTo>
                    <a:lnTo>
                      <a:pt x="230" y="2"/>
                    </a:lnTo>
                    <a:lnTo>
                      <a:pt x="218" y="3"/>
                    </a:lnTo>
                    <a:lnTo>
                      <a:pt x="205" y="5"/>
                    </a:lnTo>
                    <a:lnTo>
                      <a:pt x="192" y="9"/>
                    </a:lnTo>
                    <a:lnTo>
                      <a:pt x="180" y="12"/>
                    </a:lnTo>
                    <a:lnTo>
                      <a:pt x="168" y="16"/>
                    </a:lnTo>
                    <a:lnTo>
                      <a:pt x="157" y="20"/>
                    </a:lnTo>
                    <a:lnTo>
                      <a:pt x="145" y="26"/>
                    </a:lnTo>
                    <a:lnTo>
                      <a:pt x="134" y="31"/>
                    </a:lnTo>
                    <a:lnTo>
                      <a:pt x="123" y="38"/>
                    </a:lnTo>
                    <a:lnTo>
                      <a:pt x="113" y="44"/>
                    </a:lnTo>
                    <a:lnTo>
                      <a:pt x="103" y="52"/>
                    </a:lnTo>
                    <a:lnTo>
                      <a:pt x="93" y="59"/>
                    </a:lnTo>
                    <a:lnTo>
                      <a:pt x="84" y="67"/>
                    </a:lnTo>
                    <a:lnTo>
                      <a:pt x="75" y="75"/>
                    </a:lnTo>
                    <a:lnTo>
                      <a:pt x="67" y="85"/>
                    </a:lnTo>
                    <a:lnTo>
                      <a:pt x="59" y="93"/>
                    </a:lnTo>
                    <a:lnTo>
                      <a:pt x="52" y="103"/>
                    </a:lnTo>
                    <a:lnTo>
                      <a:pt x="44" y="114"/>
                    </a:lnTo>
                    <a:lnTo>
                      <a:pt x="38" y="123"/>
                    </a:lnTo>
                    <a:lnTo>
                      <a:pt x="31" y="134"/>
                    </a:lnTo>
                    <a:lnTo>
                      <a:pt x="26" y="146"/>
                    </a:lnTo>
                    <a:lnTo>
                      <a:pt x="20" y="157"/>
                    </a:lnTo>
                    <a:lnTo>
                      <a:pt x="16" y="168"/>
                    </a:lnTo>
                    <a:lnTo>
                      <a:pt x="12" y="180"/>
                    </a:lnTo>
                    <a:lnTo>
                      <a:pt x="9" y="192"/>
                    </a:lnTo>
                    <a:lnTo>
                      <a:pt x="5" y="205"/>
                    </a:lnTo>
                    <a:lnTo>
                      <a:pt x="3" y="218"/>
                    </a:lnTo>
                    <a:lnTo>
                      <a:pt x="1" y="231"/>
                    </a:lnTo>
                    <a:lnTo>
                      <a:pt x="0" y="243"/>
                    </a:lnTo>
                    <a:lnTo>
                      <a:pt x="0" y="256"/>
                    </a:lnTo>
                    <a:lnTo>
                      <a:pt x="1" y="277"/>
                    </a:lnTo>
                    <a:lnTo>
                      <a:pt x="3" y="298"/>
                    </a:lnTo>
                    <a:lnTo>
                      <a:pt x="8" y="317"/>
                    </a:lnTo>
                    <a:lnTo>
                      <a:pt x="13" y="338"/>
                    </a:lnTo>
                    <a:lnTo>
                      <a:pt x="20" y="356"/>
                    </a:lnTo>
                    <a:lnTo>
                      <a:pt x="29" y="374"/>
                    </a:lnTo>
                    <a:lnTo>
                      <a:pt x="39" y="391"/>
                    </a:lnTo>
                    <a:lnTo>
                      <a:pt x="50" y="409"/>
                    </a:lnTo>
                    <a:lnTo>
                      <a:pt x="63" y="424"/>
                    </a:lnTo>
                    <a:lnTo>
                      <a:pt x="77" y="439"/>
                    </a:lnTo>
                    <a:lnTo>
                      <a:pt x="91" y="451"/>
                    </a:lnTo>
                    <a:lnTo>
                      <a:pt x="107" y="464"/>
                    </a:lnTo>
                    <a:lnTo>
                      <a:pt x="124" y="475"/>
                    </a:lnTo>
                    <a:lnTo>
                      <a:pt x="143" y="485"/>
                    </a:lnTo>
                    <a:lnTo>
                      <a:pt x="161" y="493"/>
                    </a:lnTo>
                    <a:lnTo>
                      <a:pt x="181" y="501"/>
                    </a:lnTo>
                    <a:lnTo>
                      <a:pt x="181" y="543"/>
                    </a:lnTo>
                    <a:lnTo>
                      <a:pt x="181" y="545"/>
                    </a:lnTo>
                    <a:lnTo>
                      <a:pt x="182" y="548"/>
                    </a:lnTo>
                    <a:lnTo>
                      <a:pt x="183" y="550"/>
                    </a:lnTo>
                    <a:lnTo>
                      <a:pt x="186" y="553"/>
                    </a:lnTo>
                    <a:lnTo>
                      <a:pt x="188" y="554"/>
                    </a:lnTo>
                    <a:lnTo>
                      <a:pt x="190" y="557"/>
                    </a:lnTo>
                    <a:lnTo>
                      <a:pt x="193" y="557"/>
                    </a:lnTo>
                    <a:lnTo>
                      <a:pt x="196" y="558"/>
                    </a:lnTo>
                    <a:lnTo>
                      <a:pt x="316" y="558"/>
                    </a:lnTo>
                    <a:lnTo>
                      <a:pt x="320" y="557"/>
                    </a:lnTo>
                    <a:lnTo>
                      <a:pt x="322" y="557"/>
                    </a:lnTo>
                    <a:lnTo>
                      <a:pt x="325" y="554"/>
                    </a:lnTo>
                    <a:lnTo>
                      <a:pt x="327" y="553"/>
                    </a:lnTo>
                    <a:lnTo>
                      <a:pt x="329" y="550"/>
                    </a:lnTo>
                    <a:lnTo>
                      <a:pt x="330" y="548"/>
                    </a:lnTo>
                    <a:lnTo>
                      <a:pt x="331" y="545"/>
                    </a:lnTo>
                    <a:lnTo>
                      <a:pt x="331" y="543"/>
                    </a:lnTo>
                    <a:lnTo>
                      <a:pt x="331" y="501"/>
                    </a:lnTo>
                    <a:lnTo>
                      <a:pt x="351" y="493"/>
                    </a:lnTo>
                    <a:lnTo>
                      <a:pt x="370" y="485"/>
                    </a:lnTo>
                    <a:lnTo>
                      <a:pt x="388" y="475"/>
                    </a:lnTo>
                    <a:lnTo>
                      <a:pt x="404" y="464"/>
                    </a:lnTo>
                    <a:lnTo>
                      <a:pt x="420" y="451"/>
                    </a:lnTo>
                    <a:lnTo>
                      <a:pt x="436" y="439"/>
                    </a:lnTo>
                    <a:lnTo>
                      <a:pt x="449" y="424"/>
                    </a:lnTo>
                    <a:lnTo>
                      <a:pt x="462" y="409"/>
                    </a:lnTo>
                    <a:lnTo>
                      <a:pt x="473" y="391"/>
                    </a:lnTo>
                    <a:lnTo>
                      <a:pt x="483" y="374"/>
                    </a:lnTo>
                    <a:lnTo>
                      <a:pt x="491" y="356"/>
                    </a:lnTo>
                    <a:lnTo>
                      <a:pt x="499" y="338"/>
                    </a:lnTo>
                    <a:lnTo>
                      <a:pt x="504" y="317"/>
                    </a:lnTo>
                    <a:lnTo>
                      <a:pt x="508" y="298"/>
                    </a:lnTo>
                    <a:lnTo>
                      <a:pt x="512" y="277"/>
                    </a:lnTo>
                    <a:lnTo>
                      <a:pt x="512" y="256"/>
                    </a:lnTo>
                    <a:lnTo>
                      <a:pt x="512" y="243"/>
                    </a:lnTo>
                    <a:lnTo>
                      <a:pt x="511" y="231"/>
                    </a:lnTo>
                    <a:lnTo>
                      <a:pt x="510" y="218"/>
                    </a:lnTo>
                    <a:lnTo>
                      <a:pt x="507" y="205"/>
                    </a:lnTo>
                    <a:lnTo>
                      <a:pt x="504" y="192"/>
                    </a:lnTo>
                    <a:lnTo>
                      <a:pt x="501" y="180"/>
                    </a:lnTo>
                    <a:lnTo>
                      <a:pt x="497" y="168"/>
                    </a:lnTo>
                    <a:lnTo>
                      <a:pt x="492" y="157"/>
                    </a:lnTo>
                    <a:lnTo>
                      <a:pt x="487" y="146"/>
                    </a:lnTo>
                    <a:lnTo>
                      <a:pt x="482" y="134"/>
                    </a:lnTo>
                    <a:lnTo>
                      <a:pt x="475" y="123"/>
                    </a:lnTo>
                    <a:lnTo>
                      <a:pt x="469" y="114"/>
                    </a:lnTo>
                    <a:lnTo>
                      <a:pt x="461" y="103"/>
                    </a:lnTo>
                    <a:lnTo>
                      <a:pt x="454" y="93"/>
                    </a:lnTo>
                    <a:lnTo>
                      <a:pt x="445" y="85"/>
                    </a:lnTo>
                    <a:lnTo>
                      <a:pt x="437" y="75"/>
                    </a:lnTo>
                    <a:lnTo>
                      <a:pt x="428" y="67"/>
                    </a:lnTo>
                    <a:lnTo>
                      <a:pt x="418" y="59"/>
                    </a:lnTo>
                    <a:lnTo>
                      <a:pt x="409" y="52"/>
                    </a:lnTo>
                    <a:lnTo>
                      <a:pt x="399" y="44"/>
                    </a:lnTo>
                    <a:lnTo>
                      <a:pt x="388" y="38"/>
                    </a:lnTo>
                    <a:lnTo>
                      <a:pt x="378" y="31"/>
                    </a:lnTo>
                    <a:lnTo>
                      <a:pt x="367" y="26"/>
                    </a:lnTo>
                    <a:lnTo>
                      <a:pt x="356" y="20"/>
                    </a:lnTo>
                    <a:lnTo>
                      <a:pt x="344" y="16"/>
                    </a:lnTo>
                    <a:lnTo>
                      <a:pt x="333" y="12"/>
                    </a:lnTo>
                    <a:lnTo>
                      <a:pt x="320" y="9"/>
                    </a:lnTo>
                    <a:lnTo>
                      <a:pt x="308" y="5"/>
                    </a:lnTo>
                    <a:lnTo>
                      <a:pt x="295" y="3"/>
                    </a:lnTo>
                    <a:lnTo>
                      <a:pt x="282" y="2"/>
                    </a:lnTo>
                    <a:lnTo>
                      <a:pt x="269" y="1"/>
                    </a:lnTo>
                    <a:lnTo>
                      <a:pt x="256" y="0"/>
                    </a:lnTo>
                    <a:close/>
                  </a:path>
                </a:pathLst>
              </a:custGeom>
              <a:gradFill>
                <a:gsLst>
                  <a:gs pos="1000">
                    <a:schemeClr val="tx2"/>
                  </a:gs>
                  <a:gs pos="10000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210"/>
              <p:cNvSpPr>
                <a:spLocks/>
              </p:cNvSpPr>
              <p:nvPr/>
            </p:nvSpPr>
            <p:spPr bwMode="auto">
              <a:xfrm>
                <a:off x="11045825" y="2363788"/>
                <a:ext cx="28575" cy="9525"/>
              </a:xfrm>
              <a:custGeom>
                <a:avLst/>
                <a:gdLst>
                  <a:gd name="T0" fmla="*/ 75 w 90"/>
                  <a:gd name="T1" fmla="*/ 0 h 30"/>
                  <a:gd name="T2" fmla="*/ 15 w 90"/>
                  <a:gd name="T3" fmla="*/ 0 h 30"/>
                  <a:gd name="T4" fmla="*/ 12 w 90"/>
                  <a:gd name="T5" fmla="*/ 0 h 30"/>
                  <a:gd name="T6" fmla="*/ 9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2 h 30"/>
                  <a:gd name="T64" fmla="*/ 80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9" y="1"/>
                    </a:lnTo>
                    <a:lnTo>
                      <a:pt x="6" y="2"/>
                    </a:lnTo>
                    <a:lnTo>
                      <a:pt x="4" y="5"/>
                    </a:lnTo>
                    <a:lnTo>
                      <a:pt x="2" y="7"/>
                    </a:lnTo>
                    <a:lnTo>
                      <a:pt x="1" y="9"/>
                    </a:lnTo>
                    <a:lnTo>
                      <a:pt x="0" y="12"/>
                    </a:lnTo>
                    <a:lnTo>
                      <a:pt x="0" y="15"/>
                    </a:lnTo>
                    <a:lnTo>
                      <a:pt x="0" y="19"/>
                    </a:lnTo>
                    <a:lnTo>
                      <a:pt x="1" y="21"/>
                    </a:lnTo>
                    <a:lnTo>
                      <a:pt x="2" y="24"/>
                    </a:lnTo>
                    <a:lnTo>
                      <a:pt x="4" y="26"/>
                    </a:lnTo>
                    <a:lnTo>
                      <a:pt x="6" y="28"/>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2"/>
                    </a:lnTo>
                    <a:lnTo>
                      <a:pt x="80" y="1"/>
                    </a:lnTo>
                    <a:lnTo>
                      <a:pt x="78" y="0"/>
                    </a:lnTo>
                    <a:lnTo>
                      <a:pt x="75" y="0"/>
                    </a:lnTo>
                    <a:close/>
                  </a:path>
                </a:pathLst>
              </a:custGeom>
              <a:gradFill>
                <a:gsLst>
                  <a:gs pos="1000">
                    <a:schemeClr val="tx2"/>
                  </a:gs>
                  <a:gs pos="10000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211"/>
              <p:cNvSpPr>
                <a:spLocks/>
              </p:cNvSpPr>
              <p:nvPr/>
            </p:nvSpPr>
            <p:spPr bwMode="auto">
              <a:xfrm>
                <a:off x="11074400" y="2276475"/>
                <a:ext cx="33338" cy="33338"/>
              </a:xfrm>
              <a:custGeom>
                <a:avLst/>
                <a:gdLst>
                  <a:gd name="T0" fmla="*/ 90 w 105"/>
                  <a:gd name="T1" fmla="*/ 105 h 105"/>
                  <a:gd name="T2" fmla="*/ 93 w 105"/>
                  <a:gd name="T3" fmla="*/ 105 h 105"/>
                  <a:gd name="T4" fmla="*/ 97 w 105"/>
                  <a:gd name="T5" fmla="*/ 104 h 105"/>
                  <a:gd name="T6" fmla="*/ 99 w 105"/>
                  <a:gd name="T7" fmla="*/ 103 h 105"/>
                  <a:gd name="T8" fmla="*/ 101 w 105"/>
                  <a:gd name="T9" fmla="*/ 101 h 105"/>
                  <a:gd name="T10" fmla="*/ 103 w 105"/>
                  <a:gd name="T11" fmla="*/ 99 h 105"/>
                  <a:gd name="T12" fmla="*/ 104 w 105"/>
                  <a:gd name="T13" fmla="*/ 97 h 105"/>
                  <a:gd name="T14" fmla="*/ 105 w 105"/>
                  <a:gd name="T15" fmla="*/ 93 h 105"/>
                  <a:gd name="T16" fmla="*/ 105 w 105"/>
                  <a:gd name="T17" fmla="*/ 90 h 105"/>
                  <a:gd name="T18" fmla="*/ 105 w 105"/>
                  <a:gd name="T19" fmla="*/ 88 h 105"/>
                  <a:gd name="T20" fmla="*/ 104 w 105"/>
                  <a:gd name="T21" fmla="*/ 85 h 105"/>
                  <a:gd name="T22" fmla="*/ 103 w 105"/>
                  <a:gd name="T23" fmla="*/ 83 h 105"/>
                  <a:gd name="T24" fmla="*/ 101 w 105"/>
                  <a:gd name="T25" fmla="*/ 79 h 105"/>
                  <a:gd name="T26" fmla="*/ 26 w 105"/>
                  <a:gd name="T27" fmla="*/ 4 h 105"/>
                  <a:gd name="T28" fmla="*/ 24 w 105"/>
                  <a:gd name="T29" fmla="*/ 2 h 105"/>
                  <a:gd name="T30" fmla="*/ 20 w 105"/>
                  <a:gd name="T31" fmla="*/ 1 h 105"/>
                  <a:gd name="T32" fmla="*/ 18 w 105"/>
                  <a:gd name="T33" fmla="*/ 0 h 105"/>
                  <a:gd name="T34" fmla="*/ 15 w 105"/>
                  <a:gd name="T35" fmla="*/ 0 h 105"/>
                  <a:gd name="T36" fmla="*/ 12 w 105"/>
                  <a:gd name="T37" fmla="*/ 0 h 105"/>
                  <a:gd name="T38" fmla="*/ 10 w 105"/>
                  <a:gd name="T39" fmla="*/ 1 h 105"/>
                  <a:gd name="T40" fmla="*/ 6 w 105"/>
                  <a:gd name="T41" fmla="*/ 3 h 105"/>
                  <a:gd name="T42" fmla="*/ 4 w 105"/>
                  <a:gd name="T43" fmla="*/ 4 h 105"/>
                  <a:gd name="T44" fmla="*/ 2 w 105"/>
                  <a:gd name="T45" fmla="*/ 6 h 105"/>
                  <a:gd name="T46" fmla="*/ 1 w 105"/>
                  <a:gd name="T47" fmla="*/ 10 h 105"/>
                  <a:gd name="T48" fmla="*/ 0 w 105"/>
                  <a:gd name="T49" fmla="*/ 13 h 105"/>
                  <a:gd name="T50" fmla="*/ 0 w 105"/>
                  <a:gd name="T51" fmla="*/ 15 h 105"/>
                  <a:gd name="T52" fmla="*/ 0 w 105"/>
                  <a:gd name="T53" fmla="*/ 18 h 105"/>
                  <a:gd name="T54" fmla="*/ 1 w 105"/>
                  <a:gd name="T55" fmla="*/ 21 h 105"/>
                  <a:gd name="T56" fmla="*/ 2 w 105"/>
                  <a:gd name="T57" fmla="*/ 24 h 105"/>
                  <a:gd name="T58" fmla="*/ 4 w 105"/>
                  <a:gd name="T59" fmla="*/ 26 h 105"/>
                  <a:gd name="T60" fmla="*/ 79 w 105"/>
                  <a:gd name="T61" fmla="*/ 101 h 105"/>
                  <a:gd name="T62" fmla="*/ 83 w 105"/>
                  <a:gd name="T63" fmla="*/ 103 h 105"/>
                  <a:gd name="T64" fmla="*/ 85 w 105"/>
                  <a:gd name="T65" fmla="*/ 104 h 105"/>
                  <a:gd name="T66" fmla="*/ 88 w 105"/>
                  <a:gd name="T67" fmla="*/ 105 h 105"/>
                  <a:gd name="T68" fmla="*/ 90 w 105"/>
                  <a:gd name="T6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05">
                    <a:moveTo>
                      <a:pt x="90" y="105"/>
                    </a:moveTo>
                    <a:lnTo>
                      <a:pt x="93" y="105"/>
                    </a:lnTo>
                    <a:lnTo>
                      <a:pt x="97" y="104"/>
                    </a:lnTo>
                    <a:lnTo>
                      <a:pt x="99" y="103"/>
                    </a:lnTo>
                    <a:lnTo>
                      <a:pt x="101" y="101"/>
                    </a:lnTo>
                    <a:lnTo>
                      <a:pt x="103" y="99"/>
                    </a:lnTo>
                    <a:lnTo>
                      <a:pt x="104" y="97"/>
                    </a:lnTo>
                    <a:lnTo>
                      <a:pt x="105" y="93"/>
                    </a:lnTo>
                    <a:lnTo>
                      <a:pt x="105" y="90"/>
                    </a:lnTo>
                    <a:lnTo>
                      <a:pt x="105" y="88"/>
                    </a:lnTo>
                    <a:lnTo>
                      <a:pt x="104" y="85"/>
                    </a:lnTo>
                    <a:lnTo>
                      <a:pt x="103" y="83"/>
                    </a:lnTo>
                    <a:lnTo>
                      <a:pt x="101" y="79"/>
                    </a:lnTo>
                    <a:lnTo>
                      <a:pt x="26" y="4"/>
                    </a:lnTo>
                    <a:lnTo>
                      <a:pt x="24" y="2"/>
                    </a:lnTo>
                    <a:lnTo>
                      <a:pt x="20" y="1"/>
                    </a:lnTo>
                    <a:lnTo>
                      <a:pt x="18" y="0"/>
                    </a:lnTo>
                    <a:lnTo>
                      <a:pt x="15" y="0"/>
                    </a:lnTo>
                    <a:lnTo>
                      <a:pt x="12" y="0"/>
                    </a:lnTo>
                    <a:lnTo>
                      <a:pt x="10" y="1"/>
                    </a:lnTo>
                    <a:lnTo>
                      <a:pt x="6" y="3"/>
                    </a:lnTo>
                    <a:lnTo>
                      <a:pt x="4" y="4"/>
                    </a:lnTo>
                    <a:lnTo>
                      <a:pt x="2" y="6"/>
                    </a:lnTo>
                    <a:lnTo>
                      <a:pt x="1" y="10"/>
                    </a:lnTo>
                    <a:lnTo>
                      <a:pt x="0" y="13"/>
                    </a:lnTo>
                    <a:lnTo>
                      <a:pt x="0" y="15"/>
                    </a:lnTo>
                    <a:lnTo>
                      <a:pt x="0" y="18"/>
                    </a:lnTo>
                    <a:lnTo>
                      <a:pt x="1" y="21"/>
                    </a:lnTo>
                    <a:lnTo>
                      <a:pt x="2" y="24"/>
                    </a:lnTo>
                    <a:lnTo>
                      <a:pt x="4" y="26"/>
                    </a:lnTo>
                    <a:lnTo>
                      <a:pt x="79" y="101"/>
                    </a:lnTo>
                    <a:lnTo>
                      <a:pt x="83" y="103"/>
                    </a:lnTo>
                    <a:lnTo>
                      <a:pt x="85" y="104"/>
                    </a:lnTo>
                    <a:lnTo>
                      <a:pt x="88" y="105"/>
                    </a:lnTo>
                    <a:lnTo>
                      <a:pt x="90" y="105"/>
                    </a:lnTo>
                    <a:close/>
                  </a:path>
                </a:pathLst>
              </a:custGeom>
              <a:gradFill>
                <a:gsLst>
                  <a:gs pos="1000">
                    <a:schemeClr val="tx2"/>
                  </a:gs>
                  <a:gs pos="10000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212"/>
              <p:cNvSpPr>
                <a:spLocks/>
              </p:cNvSpPr>
              <p:nvPr/>
            </p:nvSpPr>
            <p:spPr bwMode="auto">
              <a:xfrm>
                <a:off x="11169650" y="2247900"/>
                <a:ext cx="9525" cy="28575"/>
              </a:xfrm>
              <a:custGeom>
                <a:avLst/>
                <a:gdLst>
                  <a:gd name="T0" fmla="*/ 15 w 30"/>
                  <a:gd name="T1" fmla="*/ 90 h 90"/>
                  <a:gd name="T2" fmla="*/ 19 w 30"/>
                  <a:gd name="T3" fmla="*/ 90 h 90"/>
                  <a:gd name="T4" fmla="*/ 21 w 30"/>
                  <a:gd name="T5" fmla="*/ 89 h 90"/>
                  <a:gd name="T6" fmla="*/ 24 w 30"/>
                  <a:gd name="T7" fmla="*/ 88 h 90"/>
                  <a:gd name="T8" fmla="*/ 26 w 30"/>
                  <a:gd name="T9" fmla="*/ 86 h 90"/>
                  <a:gd name="T10" fmla="*/ 27 w 30"/>
                  <a:gd name="T11" fmla="*/ 84 h 90"/>
                  <a:gd name="T12" fmla="*/ 29 w 30"/>
                  <a:gd name="T13" fmla="*/ 81 h 90"/>
                  <a:gd name="T14" fmla="*/ 30 w 30"/>
                  <a:gd name="T15" fmla="*/ 78 h 90"/>
                  <a:gd name="T16" fmla="*/ 30 w 30"/>
                  <a:gd name="T17" fmla="*/ 75 h 90"/>
                  <a:gd name="T18" fmla="*/ 30 w 30"/>
                  <a:gd name="T19" fmla="*/ 15 h 90"/>
                  <a:gd name="T20" fmla="*/ 30 w 30"/>
                  <a:gd name="T21" fmla="*/ 12 h 90"/>
                  <a:gd name="T22" fmla="*/ 29 w 30"/>
                  <a:gd name="T23" fmla="*/ 10 h 90"/>
                  <a:gd name="T24" fmla="*/ 27 w 30"/>
                  <a:gd name="T25" fmla="*/ 6 h 90"/>
                  <a:gd name="T26" fmla="*/ 26 w 30"/>
                  <a:gd name="T27" fmla="*/ 4 h 90"/>
                  <a:gd name="T28" fmla="*/ 24 w 30"/>
                  <a:gd name="T29" fmla="*/ 2 h 90"/>
                  <a:gd name="T30" fmla="*/ 21 w 30"/>
                  <a:gd name="T31" fmla="*/ 1 h 90"/>
                  <a:gd name="T32" fmla="*/ 19 w 30"/>
                  <a:gd name="T33" fmla="*/ 0 h 90"/>
                  <a:gd name="T34" fmla="*/ 15 w 30"/>
                  <a:gd name="T35" fmla="*/ 0 h 90"/>
                  <a:gd name="T36" fmla="*/ 12 w 30"/>
                  <a:gd name="T37" fmla="*/ 0 h 90"/>
                  <a:gd name="T38" fmla="*/ 9 w 30"/>
                  <a:gd name="T39" fmla="*/ 1 h 90"/>
                  <a:gd name="T40" fmla="*/ 7 w 30"/>
                  <a:gd name="T41" fmla="*/ 2 h 90"/>
                  <a:gd name="T42" fmla="*/ 5 w 30"/>
                  <a:gd name="T43" fmla="*/ 4 h 90"/>
                  <a:gd name="T44" fmla="*/ 3 w 30"/>
                  <a:gd name="T45" fmla="*/ 6 h 90"/>
                  <a:gd name="T46" fmla="*/ 1 w 30"/>
                  <a:gd name="T47" fmla="*/ 10 h 90"/>
                  <a:gd name="T48" fmla="*/ 0 w 30"/>
                  <a:gd name="T49" fmla="*/ 12 h 90"/>
                  <a:gd name="T50" fmla="*/ 0 w 30"/>
                  <a:gd name="T51" fmla="*/ 15 h 90"/>
                  <a:gd name="T52" fmla="*/ 0 w 30"/>
                  <a:gd name="T53" fmla="*/ 75 h 90"/>
                  <a:gd name="T54" fmla="*/ 0 w 30"/>
                  <a:gd name="T55" fmla="*/ 78 h 90"/>
                  <a:gd name="T56" fmla="*/ 1 w 30"/>
                  <a:gd name="T57" fmla="*/ 81 h 90"/>
                  <a:gd name="T58" fmla="*/ 3 w 30"/>
                  <a:gd name="T59" fmla="*/ 84 h 90"/>
                  <a:gd name="T60" fmla="*/ 5 w 30"/>
                  <a:gd name="T61" fmla="*/ 86 h 90"/>
                  <a:gd name="T62" fmla="*/ 7 w 30"/>
                  <a:gd name="T63" fmla="*/ 88 h 90"/>
                  <a:gd name="T64" fmla="*/ 9 w 30"/>
                  <a:gd name="T65" fmla="*/ 89 h 90"/>
                  <a:gd name="T66" fmla="*/ 12 w 30"/>
                  <a:gd name="T67" fmla="*/ 90 h 90"/>
                  <a:gd name="T68" fmla="*/ 15 w 30"/>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90"/>
                    </a:moveTo>
                    <a:lnTo>
                      <a:pt x="19" y="90"/>
                    </a:lnTo>
                    <a:lnTo>
                      <a:pt x="21" y="89"/>
                    </a:lnTo>
                    <a:lnTo>
                      <a:pt x="24" y="88"/>
                    </a:lnTo>
                    <a:lnTo>
                      <a:pt x="26" y="86"/>
                    </a:lnTo>
                    <a:lnTo>
                      <a:pt x="27" y="84"/>
                    </a:lnTo>
                    <a:lnTo>
                      <a:pt x="29" y="81"/>
                    </a:lnTo>
                    <a:lnTo>
                      <a:pt x="30" y="78"/>
                    </a:lnTo>
                    <a:lnTo>
                      <a:pt x="30" y="75"/>
                    </a:lnTo>
                    <a:lnTo>
                      <a:pt x="30" y="15"/>
                    </a:lnTo>
                    <a:lnTo>
                      <a:pt x="30" y="12"/>
                    </a:lnTo>
                    <a:lnTo>
                      <a:pt x="29" y="10"/>
                    </a:lnTo>
                    <a:lnTo>
                      <a:pt x="27" y="6"/>
                    </a:lnTo>
                    <a:lnTo>
                      <a:pt x="26" y="4"/>
                    </a:lnTo>
                    <a:lnTo>
                      <a:pt x="24" y="2"/>
                    </a:lnTo>
                    <a:lnTo>
                      <a:pt x="21" y="1"/>
                    </a:lnTo>
                    <a:lnTo>
                      <a:pt x="19" y="0"/>
                    </a:lnTo>
                    <a:lnTo>
                      <a:pt x="15" y="0"/>
                    </a:lnTo>
                    <a:lnTo>
                      <a:pt x="12" y="0"/>
                    </a:lnTo>
                    <a:lnTo>
                      <a:pt x="9" y="1"/>
                    </a:lnTo>
                    <a:lnTo>
                      <a:pt x="7" y="2"/>
                    </a:lnTo>
                    <a:lnTo>
                      <a:pt x="5" y="4"/>
                    </a:lnTo>
                    <a:lnTo>
                      <a:pt x="3" y="6"/>
                    </a:lnTo>
                    <a:lnTo>
                      <a:pt x="1" y="10"/>
                    </a:lnTo>
                    <a:lnTo>
                      <a:pt x="0" y="12"/>
                    </a:lnTo>
                    <a:lnTo>
                      <a:pt x="0" y="15"/>
                    </a:lnTo>
                    <a:lnTo>
                      <a:pt x="0" y="75"/>
                    </a:lnTo>
                    <a:lnTo>
                      <a:pt x="0" y="78"/>
                    </a:lnTo>
                    <a:lnTo>
                      <a:pt x="1" y="81"/>
                    </a:lnTo>
                    <a:lnTo>
                      <a:pt x="3" y="84"/>
                    </a:lnTo>
                    <a:lnTo>
                      <a:pt x="5" y="86"/>
                    </a:lnTo>
                    <a:lnTo>
                      <a:pt x="7" y="88"/>
                    </a:lnTo>
                    <a:lnTo>
                      <a:pt x="9" y="89"/>
                    </a:lnTo>
                    <a:lnTo>
                      <a:pt x="12" y="90"/>
                    </a:lnTo>
                    <a:lnTo>
                      <a:pt x="15" y="90"/>
                    </a:lnTo>
                    <a:close/>
                  </a:path>
                </a:pathLst>
              </a:custGeom>
              <a:gradFill>
                <a:gsLst>
                  <a:gs pos="1000">
                    <a:schemeClr val="tx2"/>
                  </a:gs>
                  <a:gs pos="10000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213"/>
              <p:cNvSpPr>
                <a:spLocks/>
              </p:cNvSpPr>
              <p:nvPr/>
            </p:nvSpPr>
            <p:spPr bwMode="auto">
              <a:xfrm>
                <a:off x="11242675" y="2276475"/>
                <a:ext cx="33338" cy="33338"/>
              </a:xfrm>
              <a:custGeom>
                <a:avLst/>
                <a:gdLst>
                  <a:gd name="T0" fmla="*/ 100 w 106"/>
                  <a:gd name="T1" fmla="*/ 4 h 105"/>
                  <a:gd name="T2" fmla="*/ 98 w 106"/>
                  <a:gd name="T3" fmla="*/ 2 h 105"/>
                  <a:gd name="T4" fmla="*/ 96 w 106"/>
                  <a:gd name="T5" fmla="*/ 1 h 105"/>
                  <a:gd name="T6" fmla="*/ 93 w 106"/>
                  <a:gd name="T7" fmla="*/ 0 h 105"/>
                  <a:gd name="T8" fmla="*/ 90 w 106"/>
                  <a:gd name="T9" fmla="*/ 0 h 105"/>
                  <a:gd name="T10" fmla="*/ 88 w 106"/>
                  <a:gd name="T11" fmla="*/ 0 h 105"/>
                  <a:gd name="T12" fmla="*/ 84 w 106"/>
                  <a:gd name="T13" fmla="*/ 1 h 105"/>
                  <a:gd name="T14" fmla="*/ 82 w 106"/>
                  <a:gd name="T15" fmla="*/ 3 h 105"/>
                  <a:gd name="T16" fmla="*/ 80 w 106"/>
                  <a:gd name="T17" fmla="*/ 4 h 105"/>
                  <a:gd name="T18" fmla="*/ 4 w 106"/>
                  <a:gd name="T19" fmla="*/ 79 h 105"/>
                  <a:gd name="T20" fmla="*/ 3 w 106"/>
                  <a:gd name="T21" fmla="*/ 83 h 105"/>
                  <a:gd name="T22" fmla="*/ 1 w 106"/>
                  <a:gd name="T23" fmla="*/ 85 h 105"/>
                  <a:gd name="T24" fmla="*/ 0 w 106"/>
                  <a:gd name="T25" fmla="*/ 88 h 105"/>
                  <a:gd name="T26" fmla="*/ 0 w 106"/>
                  <a:gd name="T27" fmla="*/ 90 h 105"/>
                  <a:gd name="T28" fmla="*/ 0 w 106"/>
                  <a:gd name="T29" fmla="*/ 93 h 105"/>
                  <a:gd name="T30" fmla="*/ 1 w 106"/>
                  <a:gd name="T31" fmla="*/ 97 h 105"/>
                  <a:gd name="T32" fmla="*/ 3 w 106"/>
                  <a:gd name="T33" fmla="*/ 99 h 105"/>
                  <a:gd name="T34" fmla="*/ 4 w 106"/>
                  <a:gd name="T35" fmla="*/ 101 h 105"/>
                  <a:gd name="T36" fmla="*/ 7 w 106"/>
                  <a:gd name="T37" fmla="*/ 103 h 105"/>
                  <a:gd name="T38" fmla="*/ 9 w 106"/>
                  <a:gd name="T39" fmla="*/ 104 h 105"/>
                  <a:gd name="T40" fmla="*/ 12 w 106"/>
                  <a:gd name="T41" fmla="*/ 105 h 105"/>
                  <a:gd name="T42" fmla="*/ 15 w 106"/>
                  <a:gd name="T43" fmla="*/ 105 h 105"/>
                  <a:gd name="T44" fmla="*/ 18 w 106"/>
                  <a:gd name="T45" fmla="*/ 105 h 105"/>
                  <a:gd name="T46" fmla="*/ 21 w 106"/>
                  <a:gd name="T47" fmla="*/ 104 h 105"/>
                  <a:gd name="T48" fmla="*/ 23 w 106"/>
                  <a:gd name="T49" fmla="*/ 103 h 105"/>
                  <a:gd name="T50" fmla="*/ 25 w 106"/>
                  <a:gd name="T51" fmla="*/ 101 h 105"/>
                  <a:gd name="T52" fmla="*/ 100 w 106"/>
                  <a:gd name="T53" fmla="*/ 26 h 105"/>
                  <a:gd name="T54" fmla="*/ 103 w 106"/>
                  <a:gd name="T55" fmla="*/ 24 h 105"/>
                  <a:gd name="T56" fmla="*/ 105 w 106"/>
                  <a:gd name="T57" fmla="*/ 21 h 105"/>
                  <a:gd name="T58" fmla="*/ 105 w 106"/>
                  <a:gd name="T59" fmla="*/ 18 h 105"/>
                  <a:gd name="T60" fmla="*/ 106 w 106"/>
                  <a:gd name="T61" fmla="*/ 15 h 105"/>
                  <a:gd name="T62" fmla="*/ 105 w 106"/>
                  <a:gd name="T63" fmla="*/ 13 h 105"/>
                  <a:gd name="T64" fmla="*/ 105 w 106"/>
                  <a:gd name="T65" fmla="*/ 10 h 105"/>
                  <a:gd name="T66" fmla="*/ 103 w 106"/>
                  <a:gd name="T67" fmla="*/ 6 h 105"/>
                  <a:gd name="T68" fmla="*/ 100 w 106"/>
                  <a:gd name="T6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05">
                    <a:moveTo>
                      <a:pt x="100" y="4"/>
                    </a:moveTo>
                    <a:lnTo>
                      <a:pt x="98" y="2"/>
                    </a:lnTo>
                    <a:lnTo>
                      <a:pt x="96" y="1"/>
                    </a:lnTo>
                    <a:lnTo>
                      <a:pt x="93" y="0"/>
                    </a:lnTo>
                    <a:lnTo>
                      <a:pt x="90" y="0"/>
                    </a:lnTo>
                    <a:lnTo>
                      <a:pt x="88" y="0"/>
                    </a:lnTo>
                    <a:lnTo>
                      <a:pt x="84" y="1"/>
                    </a:lnTo>
                    <a:lnTo>
                      <a:pt x="82" y="3"/>
                    </a:lnTo>
                    <a:lnTo>
                      <a:pt x="80" y="4"/>
                    </a:lnTo>
                    <a:lnTo>
                      <a:pt x="4" y="79"/>
                    </a:lnTo>
                    <a:lnTo>
                      <a:pt x="3" y="83"/>
                    </a:lnTo>
                    <a:lnTo>
                      <a:pt x="1" y="85"/>
                    </a:lnTo>
                    <a:lnTo>
                      <a:pt x="0" y="88"/>
                    </a:lnTo>
                    <a:lnTo>
                      <a:pt x="0" y="90"/>
                    </a:lnTo>
                    <a:lnTo>
                      <a:pt x="0" y="93"/>
                    </a:lnTo>
                    <a:lnTo>
                      <a:pt x="1" y="97"/>
                    </a:lnTo>
                    <a:lnTo>
                      <a:pt x="3" y="99"/>
                    </a:lnTo>
                    <a:lnTo>
                      <a:pt x="4" y="101"/>
                    </a:lnTo>
                    <a:lnTo>
                      <a:pt x="7" y="103"/>
                    </a:lnTo>
                    <a:lnTo>
                      <a:pt x="9" y="104"/>
                    </a:lnTo>
                    <a:lnTo>
                      <a:pt x="12" y="105"/>
                    </a:lnTo>
                    <a:lnTo>
                      <a:pt x="15" y="105"/>
                    </a:lnTo>
                    <a:lnTo>
                      <a:pt x="18" y="105"/>
                    </a:lnTo>
                    <a:lnTo>
                      <a:pt x="21" y="104"/>
                    </a:lnTo>
                    <a:lnTo>
                      <a:pt x="23" y="103"/>
                    </a:lnTo>
                    <a:lnTo>
                      <a:pt x="25" y="101"/>
                    </a:lnTo>
                    <a:lnTo>
                      <a:pt x="100" y="26"/>
                    </a:lnTo>
                    <a:lnTo>
                      <a:pt x="103" y="24"/>
                    </a:lnTo>
                    <a:lnTo>
                      <a:pt x="105" y="21"/>
                    </a:lnTo>
                    <a:lnTo>
                      <a:pt x="105" y="18"/>
                    </a:lnTo>
                    <a:lnTo>
                      <a:pt x="106" y="15"/>
                    </a:lnTo>
                    <a:lnTo>
                      <a:pt x="105" y="13"/>
                    </a:lnTo>
                    <a:lnTo>
                      <a:pt x="105" y="10"/>
                    </a:lnTo>
                    <a:lnTo>
                      <a:pt x="103" y="6"/>
                    </a:lnTo>
                    <a:lnTo>
                      <a:pt x="100" y="4"/>
                    </a:lnTo>
                    <a:close/>
                  </a:path>
                </a:pathLst>
              </a:custGeom>
              <a:gradFill>
                <a:gsLst>
                  <a:gs pos="1000">
                    <a:schemeClr val="tx2"/>
                  </a:gs>
                  <a:gs pos="10000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214"/>
              <p:cNvSpPr>
                <a:spLocks/>
              </p:cNvSpPr>
              <p:nvPr/>
            </p:nvSpPr>
            <p:spPr bwMode="auto">
              <a:xfrm>
                <a:off x="11276013" y="2363788"/>
                <a:ext cx="28575" cy="9525"/>
              </a:xfrm>
              <a:custGeom>
                <a:avLst/>
                <a:gdLst>
                  <a:gd name="T0" fmla="*/ 75 w 90"/>
                  <a:gd name="T1" fmla="*/ 0 h 30"/>
                  <a:gd name="T2" fmla="*/ 15 w 90"/>
                  <a:gd name="T3" fmla="*/ 0 h 30"/>
                  <a:gd name="T4" fmla="*/ 12 w 90"/>
                  <a:gd name="T5" fmla="*/ 0 h 30"/>
                  <a:gd name="T6" fmla="*/ 8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7 h 30"/>
                  <a:gd name="T44" fmla="*/ 86 w 90"/>
                  <a:gd name="T45" fmla="*/ 26 h 30"/>
                  <a:gd name="T46" fmla="*/ 87 w 90"/>
                  <a:gd name="T47" fmla="*/ 24 h 30"/>
                  <a:gd name="T48" fmla="*/ 89 w 90"/>
                  <a:gd name="T49" fmla="*/ 21 h 30"/>
                  <a:gd name="T50" fmla="*/ 89 w 90"/>
                  <a:gd name="T51" fmla="*/ 19 h 30"/>
                  <a:gd name="T52" fmla="*/ 90 w 90"/>
                  <a:gd name="T53" fmla="*/ 15 h 30"/>
                  <a:gd name="T54" fmla="*/ 89 w 90"/>
                  <a:gd name="T55" fmla="*/ 12 h 30"/>
                  <a:gd name="T56" fmla="*/ 89 w 90"/>
                  <a:gd name="T57" fmla="*/ 9 h 30"/>
                  <a:gd name="T58" fmla="*/ 87 w 90"/>
                  <a:gd name="T59" fmla="*/ 7 h 30"/>
                  <a:gd name="T60" fmla="*/ 86 w 90"/>
                  <a:gd name="T61" fmla="*/ 5 h 30"/>
                  <a:gd name="T62" fmla="*/ 83 w 90"/>
                  <a:gd name="T63" fmla="*/ 2 h 30"/>
                  <a:gd name="T64" fmla="*/ 80 w 90"/>
                  <a:gd name="T65" fmla="*/ 1 h 30"/>
                  <a:gd name="T66" fmla="*/ 77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8"/>
                    </a:lnTo>
                    <a:lnTo>
                      <a:pt x="8" y="29"/>
                    </a:lnTo>
                    <a:lnTo>
                      <a:pt x="12" y="30"/>
                    </a:lnTo>
                    <a:lnTo>
                      <a:pt x="15" y="30"/>
                    </a:lnTo>
                    <a:lnTo>
                      <a:pt x="75" y="30"/>
                    </a:lnTo>
                    <a:lnTo>
                      <a:pt x="78" y="30"/>
                    </a:lnTo>
                    <a:lnTo>
                      <a:pt x="80" y="29"/>
                    </a:lnTo>
                    <a:lnTo>
                      <a:pt x="83" y="27"/>
                    </a:lnTo>
                    <a:lnTo>
                      <a:pt x="86" y="26"/>
                    </a:lnTo>
                    <a:lnTo>
                      <a:pt x="87" y="24"/>
                    </a:lnTo>
                    <a:lnTo>
                      <a:pt x="89" y="21"/>
                    </a:lnTo>
                    <a:lnTo>
                      <a:pt x="89" y="19"/>
                    </a:lnTo>
                    <a:lnTo>
                      <a:pt x="90" y="15"/>
                    </a:lnTo>
                    <a:lnTo>
                      <a:pt x="89" y="12"/>
                    </a:lnTo>
                    <a:lnTo>
                      <a:pt x="89" y="9"/>
                    </a:lnTo>
                    <a:lnTo>
                      <a:pt x="87" y="7"/>
                    </a:lnTo>
                    <a:lnTo>
                      <a:pt x="86" y="5"/>
                    </a:lnTo>
                    <a:lnTo>
                      <a:pt x="83" y="2"/>
                    </a:lnTo>
                    <a:lnTo>
                      <a:pt x="80" y="1"/>
                    </a:lnTo>
                    <a:lnTo>
                      <a:pt x="77" y="0"/>
                    </a:lnTo>
                    <a:lnTo>
                      <a:pt x="75" y="0"/>
                    </a:lnTo>
                    <a:close/>
                  </a:path>
                </a:pathLst>
              </a:custGeom>
              <a:gradFill>
                <a:gsLst>
                  <a:gs pos="1000">
                    <a:schemeClr val="tx2"/>
                  </a:gs>
                  <a:gs pos="10000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0" name="Group 19"/>
          <p:cNvGrpSpPr/>
          <p:nvPr/>
        </p:nvGrpSpPr>
        <p:grpSpPr>
          <a:xfrm>
            <a:off x="9090626" y="1992043"/>
            <a:ext cx="2482248" cy="1318186"/>
            <a:chOff x="8642951" y="1666728"/>
            <a:chExt cx="2482248" cy="1318186"/>
          </a:xfrm>
        </p:grpSpPr>
        <p:sp>
          <p:nvSpPr>
            <p:cNvPr id="162" name="TextBox 161"/>
            <p:cNvSpPr txBox="1"/>
            <p:nvPr/>
          </p:nvSpPr>
          <p:spPr>
            <a:xfrm>
              <a:off x="8642951" y="2430916"/>
              <a:ext cx="2482248" cy="553998"/>
            </a:xfrm>
            <a:prstGeom prst="rect">
              <a:avLst/>
            </a:prstGeom>
            <a:noFill/>
            <a:ln w="6350">
              <a:noFill/>
              <a:prstDash val="dash"/>
            </a:ln>
          </p:spPr>
          <p:txBody>
            <a:bodyPr wrap="square" lIns="0" tIns="0" rIns="0" bIns="0" rtlCol="0">
              <a:spAutoFit/>
            </a:bodyPr>
            <a:lstStyle/>
            <a:p>
              <a:r>
                <a:rPr lang="en-US" sz="1200" dirty="0">
                  <a:solidFill>
                    <a:schemeClr val="tx1">
                      <a:lumMod val="75000"/>
                      <a:lumOff val="25000"/>
                    </a:schemeClr>
                  </a:solidFill>
                </a:rPr>
                <a:t>Our designing team can help you design the best sealing solution for various kind of pumps. </a:t>
              </a:r>
            </a:p>
          </p:txBody>
        </p:sp>
        <p:sp>
          <p:nvSpPr>
            <p:cNvPr id="163" name="TextBox 162"/>
            <p:cNvSpPr txBox="1"/>
            <p:nvPr/>
          </p:nvSpPr>
          <p:spPr>
            <a:xfrm>
              <a:off x="8642951" y="2130678"/>
              <a:ext cx="1484312" cy="215444"/>
            </a:xfrm>
            <a:prstGeom prst="rect">
              <a:avLst/>
            </a:prstGeom>
            <a:noFill/>
            <a:ln w="6350">
              <a:noFill/>
              <a:prstDash val="dash"/>
            </a:ln>
          </p:spPr>
          <p:txBody>
            <a:bodyPr wrap="square" lIns="0" tIns="0" rIns="0" bIns="0" rtlCol="0">
              <a:spAutoFit/>
            </a:bodyPr>
            <a:lstStyle/>
            <a:p>
              <a:r>
                <a:rPr lang="en-US" sz="1400" b="1" dirty="0">
                  <a:solidFill>
                    <a:schemeClr val="tx1">
                      <a:lumMod val="75000"/>
                      <a:lumOff val="25000"/>
                    </a:schemeClr>
                  </a:solidFill>
                </a:rPr>
                <a:t>DESIGNING </a:t>
              </a:r>
            </a:p>
          </p:txBody>
        </p:sp>
        <p:sp>
          <p:nvSpPr>
            <p:cNvPr id="224" name="Freeform 57"/>
            <p:cNvSpPr>
              <a:spLocks noChangeAspect="1" noEditPoints="1"/>
            </p:cNvSpPr>
            <p:nvPr/>
          </p:nvSpPr>
          <p:spPr bwMode="auto">
            <a:xfrm>
              <a:off x="8642951" y="1666728"/>
              <a:ext cx="308486" cy="396000"/>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gradFill>
              <a:gsLst>
                <a:gs pos="1000">
                  <a:schemeClr val="tx2"/>
                </a:gs>
                <a:gs pos="10000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p:cNvGrpSpPr/>
          <p:nvPr/>
        </p:nvGrpSpPr>
        <p:grpSpPr>
          <a:xfrm>
            <a:off x="5958404" y="4067049"/>
            <a:ext cx="2482249" cy="1269057"/>
            <a:chOff x="6096000" y="3581980"/>
            <a:chExt cx="2482249" cy="1102077"/>
          </a:xfrm>
        </p:grpSpPr>
        <p:sp>
          <p:nvSpPr>
            <p:cNvPr id="174" name="TextBox 173"/>
            <p:cNvSpPr txBox="1"/>
            <p:nvPr/>
          </p:nvSpPr>
          <p:spPr>
            <a:xfrm>
              <a:off x="6096001" y="3882217"/>
              <a:ext cx="2482248" cy="801840"/>
            </a:xfrm>
            <a:prstGeom prst="rect">
              <a:avLst/>
            </a:prstGeom>
            <a:noFill/>
            <a:ln w="6350">
              <a:noFill/>
              <a:prstDash val="dash"/>
            </a:ln>
          </p:spPr>
          <p:txBody>
            <a:bodyPr wrap="square" lIns="0" tIns="0" rIns="0" bIns="0" rtlCol="0">
              <a:spAutoFit/>
            </a:bodyPr>
            <a:lstStyle/>
            <a:p>
              <a:r>
                <a:rPr lang="en-US" sz="1200" dirty="0">
                  <a:solidFill>
                    <a:schemeClr val="tx1">
                      <a:lumMod val="75000"/>
                      <a:lumOff val="25000"/>
                    </a:schemeClr>
                  </a:solidFill>
                </a:rPr>
                <a:t>We offer repair and refurbishment of mechanical seals, sleeves and pump shafts to ensure the customer gets what he needs without paying unnecessary costs.</a:t>
              </a:r>
            </a:p>
          </p:txBody>
        </p:sp>
        <p:sp>
          <p:nvSpPr>
            <p:cNvPr id="175" name="TextBox 174"/>
            <p:cNvSpPr txBox="1"/>
            <p:nvPr/>
          </p:nvSpPr>
          <p:spPr>
            <a:xfrm>
              <a:off x="6096000" y="3581980"/>
              <a:ext cx="2223569" cy="187096"/>
            </a:xfrm>
            <a:prstGeom prst="rect">
              <a:avLst/>
            </a:prstGeom>
            <a:noFill/>
            <a:ln w="6350">
              <a:noFill/>
              <a:prstDash val="dash"/>
            </a:ln>
          </p:spPr>
          <p:txBody>
            <a:bodyPr wrap="square" lIns="0" tIns="0" rIns="0" bIns="0" rtlCol="0">
              <a:spAutoFit/>
            </a:bodyPr>
            <a:lstStyle/>
            <a:p>
              <a:r>
                <a:rPr lang="en-US" sz="1400" b="1" dirty="0">
                  <a:solidFill>
                    <a:schemeClr val="tx1">
                      <a:lumMod val="75000"/>
                      <a:lumOff val="25000"/>
                    </a:schemeClr>
                  </a:solidFill>
                </a:rPr>
                <a:t>REPAIR AND REFURBISHMENT </a:t>
              </a:r>
            </a:p>
          </p:txBody>
        </p:sp>
      </p:grpSp>
      <p:grpSp>
        <p:nvGrpSpPr>
          <p:cNvPr id="21" name="Group 20"/>
          <p:cNvGrpSpPr/>
          <p:nvPr/>
        </p:nvGrpSpPr>
        <p:grpSpPr>
          <a:xfrm>
            <a:off x="9090626" y="3565480"/>
            <a:ext cx="2482248" cy="1687518"/>
            <a:chOff x="8642951" y="3118029"/>
            <a:chExt cx="2482248" cy="1687518"/>
          </a:xfrm>
        </p:grpSpPr>
        <p:sp>
          <p:nvSpPr>
            <p:cNvPr id="186" name="TextBox 185"/>
            <p:cNvSpPr txBox="1"/>
            <p:nvPr/>
          </p:nvSpPr>
          <p:spPr>
            <a:xfrm>
              <a:off x="8642951" y="3882217"/>
              <a:ext cx="2482248" cy="923330"/>
            </a:xfrm>
            <a:prstGeom prst="rect">
              <a:avLst/>
            </a:prstGeom>
            <a:noFill/>
            <a:ln w="6350">
              <a:noFill/>
              <a:prstDash val="dash"/>
            </a:ln>
          </p:spPr>
          <p:txBody>
            <a:bodyPr wrap="square" lIns="0" tIns="0" rIns="0" bIns="0" rtlCol="0">
              <a:spAutoFit/>
            </a:bodyPr>
            <a:lstStyle/>
            <a:p>
              <a:r>
                <a:rPr lang="en-US" sz="1200" dirty="0">
                  <a:solidFill>
                    <a:schemeClr val="tx1">
                      <a:lumMod val="75000"/>
                      <a:lumOff val="25000"/>
                    </a:schemeClr>
                  </a:solidFill>
                </a:rPr>
                <a:t>Our service team provides best in class service support to our customers. With services like seal fitment, problem detection and on-site support we ensure a hassle-free service experience. </a:t>
              </a:r>
            </a:p>
          </p:txBody>
        </p:sp>
        <p:sp>
          <p:nvSpPr>
            <p:cNvPr id="187" name="TextBox 186"/>
            <p:cNvSpPr txBox="1"/>
            <p:nvPr/>
          </p:nvSpPr>
          <p:spPr>
            <a:xfrm>
              <a:off x="8642951" y="3581980"/>
              <a:ext cx="1829420" cy="215444"/>
            </a:xfrm>
            <a:prstGeom prst="rect">
              <a:avLst/>
            </a:prstGeom>
            <a:noFill/>
            <a:ln w="6350">
              <a:noFill/>
              <a:prstDash val="dash"/>
            </a:ln>
          </p:spPr>
          <p:txBody>
            <a:bodyPr wrap="square" lIns="0" tIns="0" rIns="0" bIns="0" rtlCol="0">
              <a:spAutoFit/>
            </a:bodyPr>
            <a:lstStyle/>
            <a:p>
              <a:r>
                <a:rPr lang="en-US" sz="1400" b="1" dirty="0">
                  <a:solidFill>
                    <a:schemeClr val="tx1">
                      <a:lumMod val="75000"/>
                      <a:lumOff val="25000"/>
                    </a:schemeClr>
                  </a:solidFill>
                </a:rPr>
                <a:t>IMPECCABLE SUPPORT </a:t>
              </a:r>
            </a:p>
          </p:txBody>
        </p:sp>
        <p:grpSp>
          <p:nvGrpSpPr>
            <p:cNvPr id="230" name="Group 229"/>
            <p:cNvGrpSpPr>
              <a:grpSpLocks noChangeAspect="1"/>
            </p:cNvGrpSpPr>
            <p:nvPr/>
          </p:nvGrpSpPr>
          <p:grpSpPr>
            <a:xfrm>
              <a:off x="8642951" y="3118029"/>
              <a:ext cx="382727" cy="396000"/>
              <a:chOff x="7620000" y="1919288"/>
              <a:chExt cx="274638" cy="284162"/>
            </a:xfrm>
            <a:gradFill>
              <a:gsLst>
                <a:gs pos="1000">
                  <a:schemeClr val="tx2"/>
                </a:gs>
                <a:gs pos="100000">
                  <a:schemeClr val="bg2"/>
                </a:gs>
              </a:gsLst>
              <a:lin ang="2700000" scaled="0"/>
            </a:gradFill>
          </p:grpSpPr>
          <p:sp>
            <p:nvSpPr>
              <p:cNvPr id="231" name="Freeform 310"/>
              <p:cNvSpPr>
                <a:spLocks noEditPoints="1"/>
              </p:cNvSpPr>
              <p:nvPr/>
            </p:nvSpPr>
            <p:spPr bwMode="auto">
              <a:xfrm>
                <a:off x="7662863" y="2014538"/>
                <a:ext cx="190500" cy="188912"/>
              </a:xfrm>
              <a:custGeom>
                <a:avLst/>
                <a:gdLst>
                  <a:gd name="T0" fmla="*/ 245 w 599"/>
                  <a:gd name="T1" fmla="*/ 563 h 599"/>
                  <a:gd name="T2" fmla="*/ 183 w 599"/>
                  <a:gd name="T3" fmla="*/ 542 h 599"/>
                  <a:gd name="T4" fmla="*/ 128 w 599"/>
                  <a:gd name="T5" fmla="*/ 507 h 599"/>
                  <a:gd name="T6" fmla="*/ 83 w 599"/>
                  <a:gd name="T7" fmla="*/ 460 h 599"/>
                  <a:gd name="T8" fmla="*/ 51 w 599"/>
                  <a:gd name="T9" fmla="*/ 404 h 599"/>
                  <a:gd name="T10" fmla="*/ 33 w 599"/>
                  <a:gd name="T11" fmla="*/ 340 h 599"/>
                  <a:gd name="T12" fmla="*/ 32 w 599"/>
                  <a:gd name="T13" fmla="*/ 272 h 599"/>
                  <a:gd name="T14" fmla="*/ 47 w 599"/>
                  <a:gd name="T15" fmla="*/ 207 h 599"/>
                  <a:gd name="T16" fmla="*/ 76 w 599"/>
                  <a:gd name="T17" fmla="*/ 149 h 599"/>
                  <a:gd name="T18" fmla="*/ 118 w 599"/>
                  <a:gd name="T19" fmla="*/ 101 h 599"/>
                  <a:gd name="T20" fmla="*/ 171 w 599"/>
                  <a:gd name="T21" fmla="*/ 63 h 599"/>
                  <a:gd name="T22" fmla="*/ 232 w 599"/>
                  <a:gd name="T23" fmla="*/ 38 h 599"/>
                  <a:gd name="T24" fmla="*/ 299 w 599"/>
                  <a:gd name="T25" fmla="*/ 30 h 599"/>
                  <a:gd name="T26" fmla="*/ 367 w 599"/>
                  <a:gd name="T27" fmla="*/ 38 h 599"/>
                  <a:gd name="T28" fmla="*/ 428 w 599"/>
                  <a:gd name="T29" fmla="*/ 63 h 599"/>
                  <a:gd name="T30" fmla="*/ 480 w 599"/>
                  <a:gd name="T31" fmla="*/ 101 h 599"/>
                  <a:gd name="T32" fmla="*/ 523 w 599"/>
                  <a:gd name="T33" fmla="*/ 149 h 599"/>
                  <a:gd name="T34" fmla="*/ 552 w 599"/>
                  <a:gd name="T35" fmla="*/ 207 h 599"/>
                  <a:gd name="T36" fmla="*/ 567 w 599"/>
                  <a:gd name="T37" fmla="*/ 272 h 599"/>
                  <a:gd name="T38" fmla="*/ 565 w 599"/>
                  <a:gd name="T39" fmla="*/ 340 h 599"/>
                  <a:gd name="T40" fmla="*/ 547 w 599"/>
                  <a:gd name="T41" fmla="*/ 404 h 599"/>
                  <a:gd name="T42" fmla="*/ 515 w 599"/>
                  <a:gd name="T43" fmla="*/ 460 h 599"/>
                  <a:gd name="T44" fmla="*/ 470 w 599"/>
                  <a:gd name="T45" fmla="*/ 507 h 599"/>
                  <a:gd name="T46" fmla="*/ 416 w 599"/>
                  <a:gd name="T47" fmla="*/ 542 h 599"/>
                  <a:gd name="T48" fmla="*/ 354 w 599"/>
                  <a:gd name="T49" fmla="*/ 563 h 599"/>
                  <a:gd name="T50" fmla="*/ 299 w 599"/>
                  <a:gd name="T51" fmla="*/ 0 h 599"/>
                  <a:gd name="T52" fmla="*/ 224 w 599"/>
                  <a:gd name="T53" fmla="*/ 10 h 599"/>
                  <a:gd name="T54" fmla="*/ 157 w 599"/>
                  <a:gd name="T55" fmla="*/ 36 h 599"/>
                  <a:gd name="T56" fmla="*/ 98 w 599"/>
                  <a:gd name="T57" fmla="*/ 78 h 599"/>
                  <a:gd name="T58" fmla="*/ 51 w 599"/>
                  <a:gd name="T59" fmla="*/ 133 h 599"/>
                  <a:gd name="T60" fmla="*/ 18 w 599"/>
                  <a:gd name="T61" fmla="*/ 197 h 599"/>
                  <a:gd name="T62" fmla="*/ 2 w 599"/>
                  <a:gd name="T63" fmla="*/ 268 h 599"/>
                  <a:gd name="T64" fmla="*/ 4 w 599"/>
                  <a:gd name="T65" fmla="*/ 344 h 599"/>
                  <a:gd name="T66" fmla="*/ 23 w 599"/>
                  <a:gd name="T67" fmla="*/ 416 h 599"/>
                  <a:gd name="T68" fmla="*/ 60 w 599"/>
                  <a:gd name="T69" fmla="*/ 478 h 599"/>
                  <a:gd name="T70" fmla="*/ 109 w 599"/>
                  <a:gd name="T71" fmla="*/ 530 h 599"/>
                  <a:gd name="T72" fmla="*/ 170 w 599"/>
                  <a:gd name="T73" fmla="*/ 569 h 599"/>
                  <a:gd name="T74" fmla="*/ 239 w 599"/>
                  <a:gd name="T75" fmla="*/ 592 h 599"/>
                  <a:gd name="T76" fmla="*/ 314 w 599"/>
                  <a:gd name="T77" fmla="*/ 598 h 599"/>
                  <a:gd name="T78" fmla="*/ 388 w 599"/>
                  <a:gd name="T79" fmla="*/ 585 h 599"/>
                  <a:gd name="T80" fmla="*/ 454 w 599"/>
                  <a:gd name="T81" fmla="*/ 555 h 599"/>
                  <a:gd name="T82" fmla="*/ 511 w 599"/>
                  <a:gd name="T83" fmla="*/ 511 h 599"/>
                  <a:gd name="T84" fmla="*/ 555 w 599"/>
                  <a:gd name="T85" fmla="*/ 455 h 599"/>
                  <a:gd name="T86" fmla="*/ 585 w 599"/>
                  <a:gd name="T87" fmla="*/ 388 h 599"/>
                  <a:gd name="T88" fmla="*/ 598 w 599"/>
                  <a:gd name="T89" fmla="*/ 314 h 599"/>
                  <a:gd name="T90" fmla="*/ 592 w 599"/>
                  <a:gd name="T91" fmla="*/ 240 h 599"/>
                  <a:gd name="T92" fmla="*/ 569 w 599"/>
                  <a:gd name="T93" fmla="*/ 170 h 599"/>
                  <a:gd name="T94" fmla="*/ 530 w 599"/>
                  <a:gd name="T95" fmla="*/ 109 h 599"/>
                  <a:gd name="T96" fmla="*/ 478 w 599"/>
                  <a:gd name="T97" fmla="*/ 60 h 599"/>
                  <a:gd name="T98" fmla="*/ 416 w 599"/>
                  <a:gd name="T99" fmla="*/ 24 h 599"/>
                  <a:gd name="T100" fmla="*/ 345 w 599"/>
                  <a:gd name="T101" fmla="*/ 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9" h="599">
                    <a:moveTo>
                      <a:pt x="299" y="569"/>
                    </a:moveTo>
                    <a:lnTo>
                      <a:pt x="285" y="568"/>
                    </a:lnTo>
                    <a:lnTo>
                      <a:pt x="271" y="567"/>
                    </a:lnTo>
                    <a:lnTo>
                      <a:pt x="259" y="566"/>
                    </a:lnTo>
                    <a:lnTo>
                      <a:pt x="245" y="563"/>
                    </a:lnTo>
                    <a:lnTo>
                      <a:pt x="232" y="560"/>
                    </a:lnTo>
                    <a:lnTo>
                      <a:pt x="219" y="556"/>
                    </a:lnTo>
                    <a:lnTo>
                      <a:pt x="207" y="552"/>
                    </a:lnTo>
                    <a:lnTo>
                      <a:pt x="194" y="548"/>
                    </a:lnTo>
                    <a:lnTo>
                      <a:pt x="183" y="542"/>
                    </a:lnTo>
                    <a:lnTo>
                      <a:pt x="171" y="536"/>
                    </a:lnTo>
                    <a:lnTo>
                      <a:pt x="160" y="529"/>
                    </a:lnTo>
                    <a:lnTo>
                      <a:pt x="148" y="523"/>
                    </a:lnTo>
                    <a:lnTo>
                      <a:pt x="139" y="515"/>
                    </a:lnTo>
                    <a:lnTo>
                      <a:pt x="128" y="507"/>
                    </a:lnTo>
                    <a:lnTo>
                      <a:pt x="118" y="498"/>
                    </a:lnTo>
                    <a:lnTo>
                      <a:pt x="109" y="490"/>
                    </a:lnTo>
                    <a:lnTo>
                      <a:pt x="100" y="480"/>
                    </a:lnTo>
                    <a:lnTo>
                      <a:pt x="92" y="471"/>
                    </a:lnTo>
                    <a:lnTo>
                      <a:pt x="83" y="460"/>
                    </a:lnTo>
                    <a:lnTo>
                      <a:pt x="76" y="450"/>
                    </a:lnTo>
                    <a:lnTo>
                      <a:pt x="69" y="438"/>
                    </a:lnTo>
                    <a:lnTo>
                      <a:pt x="63" y="428"/>
                    </a:lnTo>
                    <a:lnTo>
                      <a:pt x="56" y="416"/>
                    </a:lnTo>
                    <a:lnTo>
                      <a:pt x="51" y="404"/>
                    </a:lnTo>
                    <a:lnTo>
                      <a:pt x="47" y="391"/>
                    </a:lnTo>
                    <a:lnTo>
                      <a:pt x="43" y="380"/>
                    </a:lnTo>
                    <a:lnTo>
                      <a:pt x="38" y="367"/>
                    </a:lnTo>
                    <a:lnTo>
                      <a:pt x="35" y="354"/>
                    </a:lnTo>
                    <a:lnTo>
                      <a:pt x="33" y="340"/>
                    </a:lnTo>
                    <a:lnTo>
                      <a:pt x="32" y="327"/>
                    </a:lnTo>
                    <a:lnTo>
                      <a:pt x="31" y="313"/>
                    </a:lnTo>
                    <a:lnTo>
                      <a:pt x="30" y="299"/>
                    </a:lnTo>
                    <a:lnTo>
                      <a:pt x="31" y="286"/>
                    </a:lnTo>
                    <a:lnTo>
                      <a:pt x="32" y="272"/>
                    </a:lnTo>
                    <a:lnTo>
                      <a:pt x="33" y="259"/>
                    </a:lnTo>
                    <a:lnTo>
                      <a:pt x="35" y="245"/>
                    </a:lnTo>
                    <a:lnTo>
                      <a:pt x="38" y="232"/>
                    </a:lnTo>
                    <a:lnTo>
                      <a:pt x="43" y="219"/>
                    </a:lnTo>
                    <a:lnTo>
                      <a:pt x="47" y="207"/>
                    </a:lnTo>
                    <a:lnTo>
                      <a:pt x="51" y="195"/>
                    </a:lnTo>
                    <a:lnTo>
                      <a:pt x="56" y="183"/>
                    </a:lnTo>
                    <a:lnTo>
                      <a:pt x="63" y="171"/>
                    </a:lnTo>
                    <a:lnTo>
                      <a:pt x="69" y="160"/>
                    </a:lnTo>
                    <a:lnTo>
                      <a:pt x="76" y="149"/>
                    </a:lnTo>
                    <a:lnTo>
                      <a:pt x="83" y="138"/>
                    </a:lnTo>
                    <a:lnTo>
                      <a:pt x="92" y="128"/>
                    </a:lnTo>
                    <a:lnTo>
                      <a:pt x="100" y="119"/>
                    </a:lnTo>
                    <a:lnTo>
                      <a:pt x="109" y="109"/>
                    </a:lnTo>
                    <a:lnTo>
                      <a:pt x="118" y="101"/>
                    </a:lnTo>
                    <a:lnTo>
                      <a:pt x="128" y="92"/>
                    </a:lnTo>
                    <a:lnTo>
                      <a:pt x="139" y="83"/>
                    </a:lnTo>
                    <a:lnTo>
                      <a:pt x="148" y="76"/>
                    </a:lnTo>
                    <a:lnTo>
                      <a:pt x="160" y="70"/>
                    </a:lnTo>
                    <a:lnTo>
                      <a:pt x="171" y="63"/>
                    </a:lnTo>
                    <a:lnTo>
                      <a:pt x="183" y="57"/>
                    </a:lnTo>
                    <a:lnTo>
                      <a:pt x="194" y="51"/>
                    </a:lnTo>
                    <a:lnTo>
                      <a:pt x="207" y="47"/>
                    </a:lnTo>
                    <a:lnTo>
                      <a:pt x="219" y="43"/>
                    </a:lnTo>
                    <a:lnTo>
                      <a:pt x="232" y="38"/>
                    </a:lnTo>
                    <a:lnTo>
                      <a:pt x="245" y="35"/>
                    </a:lnTo>
                    <a:lnTo>
                      <a:pt x="259" y="33"/>
                    </a:lnTo>
                    <a:lnTo>
                      <a:pt x="271" y="32"/>
                    </a:lnTo>
                    <a:lnTo>
                      <a:pt x="285" y="31"/>
                    </a:lnTo>
                    <a:lnTo>
                      <a:pt x="299" y="30"/>
                    </a:lnTo>
                    <a:lnTo>
                      <a:pt x="313" y="31"/>
                    </a:lnTo>
                    <a:lnTo>
                      <a:pt x="327" y="32"/>
                    </a:lnTo>
                    <a:lnTo>
                      <a:pt x="340" y="33"/>
                    </a:lnTo>
                    <a:lnTo>
                      <a:pt x="354" y="35"/>
                    </a:lnTo>
                    <a:lnTo>
                      <a:pt x="367" y="38"/>
                    </a:lnTo>
                    <a:lnTo>
                      <a:pt x="379" y="43"/>
                    </a:lnTo>
                    <a:lnTo>
                      <a:pt x="391" y="47"/>
                    </a:lnTo>
                    <a:lnTo>
                      <a:pt x="404" y="51"/>
                    </a:lnTo>
                    <a:lnTo>
                      <a:pt x="416" y="57"/>
                    </a:lnTo>
                    <a:lnTo>
                      <a:pt x="428" y="63"/>
                    </a:lnTo>
                    <a:lnTo>
                      <a:pt x="438" y="70"/>
                    </a:lnTo>
                    <a:lnTo>
                      <a:pt x="450" y="76"/>
                    </a:lnTo>
                    <a:lnTo>
                      <a:pt x="460" y="83"/>
                    </a:lnTo>
                    <a:lnTo>
                      <a:pt x="470" y="92"/>
                    </a:lnTo>
                    <a:lnTo>
                      <a:pt x="480" y="101"/>
                    </a:lnTo>
                    <a:lnTo>
                      <a:pt x="490" y="109"/>
                    </a:lnTo>
                    <a:lnTo>
                      <a:pt x="498" y="119"/>
                    </a:lnTo>
                    <a:lnTo>
                      <a:pt x="507" y="128"/>
                    </a:lnTo>
                    <a:lnTo>
                      <a:pt x="515" y="138"/>
                    </a:lnTo>
                    <a:lnTo>
                      <a:pt x="523" y="149"/>
                    </a:lnTo>
                    <a:lnTo>
                      <a:pt x="529" y="160"/>
                    </a:lnTo>
                    <a:lnTo>
                      <a:pt x="536" y="171"/>
                    </a:lnTo>
                    <a:lnTo>
                      <a:pt x="542" y="183"/>
                    </a:lnTo>
                    <a:lnTo>
                      <a:pt x="547" y="195"/>
                    </a:lnTo>
                    <a:lnTo>
                      <a:pt x="552" y="207"/>
                    </a:lnTo>
                    <a:lnTo>
                      <a:pt x="556" y="219"/>
                    </a:lnTo>
                    <a:lnTo>
                      <a:pt x="560" y="232"/>
                    </a:lnTo>
                    <a:lnTo>
                      <a:pt x="563" y="245"/>
                    </a:lnTo>
                    <a:lnTo>
                      <a:pt x="565" y="259"/>
                    </a:lnTo>
                    <a:lnTo>
                      <a:pt x="567" y="272"/>
                    </a:lnTo>
                    <a:lnTo>
                      <a:pt x="568" y="286"/>
                    </a:lnTo>
                    <a:lnTo>
                      <a:pt x="569" y="299"/>
                    </a:lnTo>
                    <a:lnTo>
                      <a:pt x="568" y="313"/>
                    </a:lnTo>
                    <a:lnTo>
                      <a:pt x="567" y="327"/>
                    </a:lnTo>
                    <a:lnTo>
                      <a:pt x="565" y="340"/>
                    </a:lnTo>
                    <a:lnTo>
                      <a:pt x="563" y="354"/>
                    </a:lnTo>
                    <a:lnTo>
                      <a:pt x="560" y="367"/>
                    </a:lnTo>
                    <a:lnTo>
                      <a:pt x="556" y="380"/>
                    </a:lnTo>
                    <a:lnTo>
                      <a:pt x="552" y="391"/>
                    </a:lnTo>
                    <a:lnTo>
                      <a:pt x="547" y="404"/>
                    </a:lnTo>
                    <a:lnTo>
                      <a:pt x="542" y="416"/>
                    </a:lnTo>
                    <a:lnTo>
                      <a:pt x="536" y="428"/>
                    </a:lnTo>
                    <a:lnTo>
                      <a:pt x="529" y="438"/>
                    </a:lnTo>
                    <a:lnTo>
                      <a:pt x="523" y="450"/>
                    </a:lnTo>
                    <a:lnTo>
                      <a:pt x="515" y="460"/>
                    </a:lnTo>
                    <a:lnTo>
                      <a:pt x="507" y="471"/>
                    </a:lnTo>
                    <a:lnTo>
                      <a:pt x="498" y="480"/>
                    </a:lnTo>
                    <a:lnTo>
                      <a:pt x="490" y="490"/>
                    </a:lnTo>
                    <a:lnTo>
                      <a:pt x="480" y="498"/>
                    </a:lnTo>
                    <a:lnTo>
                      <a:pt x="470" y="507"/>
                    </a:lnTo>
                    <a:lnTo>
                      <a:pt x="460" y="515"/>
                    </a:lnTo>
                    <a:lnTo>
                      <a:pt x="450" y="523"/>
                    </a:lnTo>
                    <a:lnTo>
                      <a:pt x="438" y="529"/>
                    </a:lnTo>
                    <a:lnTo>
                      <a:pt x="428" y="536"/>
                    </a:lnTo>
                    <a:lnTo>
                      <a:pt x="416" y="542"/>
                    </a:lnTo>
                    <a:lnTo>
                      <a:pt x="404" y="548"/>
                    </a:lnTo>
                    <a:lnTo>
                      <a:pt x="391" y="552"/>
                    </a:lnTo>
                    <a:lnTo>
                      <a:pt x="379" y="556"/>
                    </a:lnTo>
                    <a:lnTo>
                      <a:pt x="367" y="560"/>
                    </a:lnTo>
                    <a:lnTo>
                      <a:pt x="354" y="563"/>
                    </a:lnTo>
                    <a:lnTo>
                      <a:pt x="340" y="566"/>
                    </a:lnTo>
                    <a:lnTo>
                      <a:pt x="327" y="567"/>
                    </a:lnTo>
                    <a:lnTo>
                      <a:pt x="313" y="568"/>
                    </a:lnTo>
                    <a:lnTo>
                      <a:pt x="299" y="569"/>
                    </a:lnTo>
                    <a:close/>
                    <a:moveTo>
                      <a:pt x="299" y="0"/>
                    </a:moveTo>
                    <a:lnTo>
                      <a:pt x="284" y="1"/>
                    </a:lnTo>
                    <a:lnTo>
                      <a:pt x="268" y="2"/>
                    </a:lnTo>
                    <a:lnTo>
                      <a:pt x="253" y="4"/>
                    </a:lnTo>
                    <a:lnTo>
                      <a:pt x="239" y="6"/>
                    </a:lnTo>
                    <a:lnTo>
                      <a:pt x="224" y="10"/>
                    </a:lnTo>
                    <a:lnTo>
                      <a:pt x="210" y="14"/>
                    </a:lnTo>
                    <a:lnTo>
                      <a:pt x="197" y="18"/>
                    </a:lnTo>
                    <a:lnTo>
                      <a:pt x="183" y="24"/>
                    </a:lnTo>
                    <a:lnTo>
                      <a:pt x="170" y="30"/>
                    </a:lnTo>
                    <a:lnTo>
                      <a:pt x="157" y="36"/>
                    </a:lnTo>
                    <a:lnTo>
                      <a:pt x="144" y="44"/>
                    </a:lnTo>
                    <a:lnTo>
                      <a:pt x="132" y="51"/>
                    </a:lnTo>
                    <a:lnTo>
                      <a:pt x="121" y="60"/>
                    </a:lnTo>
                    <a:lnTo>
                      <a:pt x="109" y="68"/>
                    </a:lnTo>
                    <a:lnTo>
                      <a:pt x="98" y="78"/>
                    </a:lnTo>
                    <a:lnTo>
                      <a:pt x="87" y="88"/>
                    </a:lnTo>
                    <a:lnTo>
                      <a:pt x="78" y="98"/>
                    </a:lnTo>
                    <a:lnTo>
                      <a:pt x="68" y="109"/>
                    </a:lnTo>
                    <a:lnTo>
                      <a:pt x="60" y="121"/>
                    </a:lnTo>
                    <a:lnTo>
                      <a:pt x="51" y="133"/>
                    </a:lnTo>
                    <a:lnTo>
                      <a:pt x="44" y="144"/>
                    </a:lnTo>
                    <a:lnTo>
                      <a:pt x="36" y="157"/>
                    </a:lnTo>
                    <a:lnTo>
                      <a:pt x="30" y="170"/>
                    </a:lnTo>
                    <a:lnTo>
                      <a:pt x="23" y="183"/>
                    </a:lnTo>
                    <a:lnTo>
                      <a:pt x="18" y="197"/>
                    </a:lnTo>
                    <a:lnTo>
                      <a:pt x="14" y="211"/>
                    </a:lnTo>
                    <a:lnTo>
                      <a:pt x="9" y="225"/>
                    </a:lnTo>
                    <a:lnTo>
                      <a:pt x="6" y="240"/>
                    </a:lnTo>
                    <a:lnTo>
                      <a:pt x="4" y="253"/>
                    </a:lnTo>
                    <a:lnTo>
                      <a:pt x="2" y="268"/>
                    </a:lnTo>
                    <a:lnTo>
                      <a:pt x="1" y="284"/>
                    </a:lnTo>
                    <a:lnTo>
                      <a:pt x="0" y="299"/>
                    </a:lnTo>
                    <a:lnTo>
                      <a:pt x="1" y="314"/>
                    </a:lnTo>
                    <a:lnTo>
                      <a:pt x="2" y="330"/>
                    </a:lnTo>
                    <a:lnTo>
                      <a:pt x="4" y="344"/>
                    </a:lnTo>
                    <a:lnTo>
                      <a:pt x="6" y="359"/>
                    </a:lnTo>
                    <a:lnTo>
                      <a:pt x="9" y="374"/>
                    </a:lnTo>
                    <a:lnTo>
                      <a:pt x="14" y="388"/>
                    </a:lnTo>
                    <a:lnTo>
                      <a:pt x="18" y="402"/>
                    </a:lnTo>
                    <a:lnTo>
                      <a:pt x="23" y="416"/>
                    </a:lnTo>
                    <a:lnTo>
                      <a:pt x="30" y="429"/>
                    </a:lnTo>
                    <a:lnTo>
                      <a:pt x="36" y="442"/>
                    </a:lnTo>
                    <a:lnTo>
                      <a:pt x="44" y="455"/>
                    </a:lnTo>
                    <a:lnTo>
                      <a:pt x="51" y="466"/>
                    </a:lnTo>
                    <a:lnTo>
                      <a:pt x="60" y="478"/>
                    </a:lnTo>
                    <a:lnTo>
                      <a:pt x="68" y="490"/>
                    </a:lnTo>
                    <a:lnTo>
                      <a:pt x="78" y="501"/>
                    </a:lnTo>
                    <a:lnTo>
                      <a:pt x="87" y="511"/>
                    </a:lnTo>
                    <a:lnTo>
                      <a:pt x="98" y="521"/>
                    </a:lnTo>
                    <a:lnTo>
                      <a:pt x="109" y="530"/>
                    </a:lnTo>
                    <a:lnTo>
                      <a:pt x="121" y="539"/>
                    </a:lnTo>
                    <a:lnTo>
                      <a:pt x="132" y="548"/>
                    </a:lnTo>
                    <a:lnTo>
                      <a:pt x="144" y="555"/>
                    </a:lnTo>
                    <a:lnTo>
                      <a:pt x="157" y="563"/>
                    </a:lnTo>
                    <a:lnTo>
                      <a:pt x="170" y="569"/>
                    </a:lnTo>
                    <a:lnTo>
                      <a:pt x="183" y="575"/>
                    </a:lnTo>
                    <a:lnTo>
                      <a:pt x="197" y="581"/>
                    </a:lnTo>
                    <a:lnTo>
                      <a:pt x="210" y="585"/>
                    </a:lnTo>
                    <a:lnTo>
                      <a:pt x="224" y="589"/>
                    </a:lnTo>
                    <a:lnTo>
                      <a:pt x="239" y="592"/>
                    </a:lnTo>
                    <a:lnTo>
                      <a:pt x="253" y="595"/>
                    </a:lnTo>
                    <a:lnTo>
                      <a:pt x="268" y="597"/>
                    </a:lnTo>
                    <a:lnTo>
                      <a:pt x="284" y="598"/>
                    </a:lnTo>
                    <a:lnTo>
                      <a:pt x="299" y="599"/>
                    </a:lnTo>
                    <a:lnTo>
                      <a:pt x="314" y="598"/>
                    </a:lnTo>
                    <a:lnTo>
                      <a:pt x="330" y="597"/>
                    </a:lnTo>
                    <a:lnTo>
                      <a:pt x="345" y="595"/>
                    </a:lnTo>
                    <a:lnTo>
                      <a:pt x="359" y="592"/>
                    </a:lnTo>
                    <a:lnTo>
                      <a:pt x="374" y="589"/>
                    </a:lnTo>
                    <a:lnTo>
                      <a:pt x="388" y="585"/>
                    </a:lnTo>
                    <a:lnTo>
                      <a:pt x="402" y="581"/>
                    </a:lnTo>
                    <a:lnTo>
                      <a:pt x="416" y="575"/>
                    </a:lnTo>
                    <a:lnTo>
                      <a:pt x="429" y="569"/>
                    </a:lnTo>
                    <a:lnTo>
                      <a:pt x="441" y="563"/>
                    </a:lnTo>
                    <a:lnTo>
                      <a:pt x="454" y="555"/>
                    </a:lnTo>
                    <a:lnTo>
                      <a:pt x="466" y="548"/>
                    </a:lnTo>
                    <a:lnTo>
                      <a:pt x="478" y="539"/>
                    </a:lnTo>
                    <a:lnTo>
                      <a:pt x="490" y="530"/>
                    </a:lnTo>
                    <a:lnTo>
                      <a:pt x="500" y="521"/>
                    </a:lnTo>
                    <a:lnTo>
                      <a:pt x="511" y="511"/>
                    </a:lnTo>
                    <a:lnTo>
                      <a:pt x="521" y="501"/>
                    </a:lnTo>
                    <a:lnTo>
                      <a:pt x="530" y="490"/>
                    </a:lnTo>
                    <a:lnTo>
                      <a:pt x="539" y="478"/>
                    </a:lnTo>
                    <a:lnTo>
                      <a:pt x="547" y="466"/>
                    </a:lnTo>
                    <a:lnTo>
                      <a:pt x="555" y="455"/>
                    </a:lnTo>
                    <a:lnTo>
                      <a:pt x="562" y="442"/>
                    </a:lnTo>
                    <a:lnTo>
                      <a:pt x="569" y="429"/>
                    </a:lnTo>
                    <a:lnTo>
                      <a:pt x="575" y="416"/>
                    </a:lnTo>
                    <a:lnTo>
                      <a:pt x="580" y="402"/>
                    </a:lnTo>
                    <a:lnTo>
                      <a:pt x="585" y="388"/>
                    </a:lnTo>
                    <a:lnTo>
                      <a:pt x="589" y="374"/>
                    </a:lnTo>
                    <a:lnTo>
                      <a:pt x="592" y="359"/>
                    </a:lnTo>
                    <a:lnTo>
                      <a:pt x="594" y="345"/>
                    </a:lnTo>
                    <a:lnTo>
                      <a:pt x="596" y="330"/>
                    </a:lnTo>
                    <a:lnTo>
                      <a:pt x="598" y="314"/>
                    </a:lnTo>
                    <a:lnTo>
                      <a:pt x="599" y="299"/>
                    </a:lnTo>
                    <a:lnTo>
                      <a:pt x="598" y="284"/>
                    </a:lnTo>
                    <a:lnTo>
                      <a:pt x="596" y="268"/>
                    </a:lnTo>
                    <a:lnTo>
                      <a:pt x="594" y="253"/>
                    </a:lnTo>
                    <a:lnTo>
                      <a:pt x="592" y="240"/>
                    </a:lnTo>
                    <a:lnTo>
                      <a:pt x="589" y="225"/>
                    </a:lnTo>
                    <a:lnTo>
                      <a:pt x="585" y="211"/>
                    </a:lnTo>
                    <a:lnTo>
                      <a:pt x="580" y="197"/>
                    </a:lnTo>
                    <a:lnTo>
                      <a:pt x="575" y="183"/>
                    </a:lnTo>
                    <a:lnTo>
                      <a:pt x="569" y="170"/>
                    </a:lnTo>
                    <a:lnTo>
                      <a:pt x="562" y="157"/>
                    </a:lnTo>
                    <a:lnTo>
                      <a:pt x="555" y="144"/>
                    </a:lnTo>
                    <a:lnTo>
                      <a:pt x="547" y="133"/>
                    </a:lnTo>
                    <a:lnTo>
                      <a:pt x="539" y="121"/>
                    </a:lnTo>
                    <a:lnTo>
                      <a:pt x="530" y="109"/>
                    </a:lnTo>
                    <a:lnTo>
                      <a:pt x="521" y="98"/>
                    </a:lnTo>
                    <a:lnTo>
                      <a:pt x="511" y="88"/>
                    </a:lnTo>
                    <a:lnTo>
                      <a:pt x="500" y="78"/>
                    </a:lnTo>
                    <a:lnTo>
                      <a:pt x="490" y="68"/>
                    </a:lnTo>
                    <a:lnTo>
                      <a:pt x="478" y="60"/>
                    </a:lnTo>
                    <a:lnTo>
                      <a:pt x="466" y="51"/>
                    </a:lnTo>
                    <a:lnTo>
                      <a:pt x="454" y="44"/>
                    </a:lnTo>
                    <a:lnTo>
                      <a:pt x="441" y="36"/>
                    </a:lnTo>
                    <a:lnTo>
                      <a:pt x="429" y="30"/>
                    </a:lnTo>
                    <a:lnTo>
                      <a:pt x="416" y="24"/>
                    </a:lnTo>
                    <a:lnTo>
                      <a:pt x="402" y="18"/>
                    </a:lnTo>
                    <a:lnTo>
                      <a:pt x="388" y="14"/>
                    </a:lnTo>
                    <a:lnTo>
                      <a:pt x="374" y="10"/>
                    </a:lnTo>
                    <a:lnTo>
                      <a:pt x="359" y="6"/>
                    </a:lnTo>
                    <a:lnTo>
                      <a:pt x="345" y="4"/>
                    </a:lnTo>
                    <a:lnTo>
                      <a:pt x="330" y="2"/>
                    </a:lnTo>
                    <a:lnTo>
                      <a:pt x="314" y="1"/>
                    </a:lnTo>
                    <a:lnTo>
                      <a:pt x="29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Freeform 311"/>
              <p:cNvSpPr>
                <a:spLocks noEditPoints="1"/>
              </p:cNvSpPr>
              <p:nvPr/>
            </p:nvSpPr>
            <p:spPr bwMode="auto">
              <a:xfrm>
                <a:off x="7700963" y="2052638"/>
                <a:ext cx="114300" cy="112712"/>
              </a:xfrm>
              <a:custGeom>
                <a:avLst/>
                <a:gdLst>
                  <a:gd name="T0" fmla="*/ 241 w 359"/>
                  <a:gd name="T1" fmla="*/ 200 h 358"/>
                  <a:gd name="T2" fmla="*/ 239 w 359"/>
                  <a:gd name="T3" fmla="*/ 208 h 358"/>
                  <a:gd name="T4" fmla="*/ 271 w 359"/>
                  <a:gd name="T5" fmla="*/ 308 h 358"/>
                  <a:gd name="T6" fmla="*/ 183 w 359"/>
                  <a:gd name="T7" fmla="*/ 253 h 358"/>
                  <a:gd name="T8" fmla="*/ 175 w 359"/>
                  <a:gd name="T9" fmla="*/ 253 h 358"/>
                  <a:gd name="T10" fmla="*/ 87 w 359"/>
                  <a:gd name="T11" fmla="*/ 308 h 358"/>
                  <a:gd name="T12" fmla="*/ 119 w 359"/>
                  <a:gd name="T13" fmla="*/ 208 h 358"/>
                  <a:gd name="T14" fmla="*/ 117 w 359"/>
                  <a:gd name="T15" fmla="*/ 200 h 358"/>
                  <a:gd name="T16" fmla="*/ 56 w 359"/>
                  <a:gd name="T17" fmla="*/ 148 h 358"/>
                  <a:gd name="T18" fmla="*/ 124 w 359"/>
                  <a:gd name="T19" fmla="*/ 147 h 358"/>
                  <a:gd name="T20" fmla="*/ 130 w 359"/>
                  <a:gd name="T21" fmla="*/ 143 h 358"/>
                  <a:gd name="T22" fmla="*/ 179 w 359"/>
                  <a:gd name="T23" fmla="*/ 47 h 358"/>
                  <a:gd name="T24" fmla="*/ 228 w 359"/>
                  <a:gd name="T25" fmla="*/ 143 h 358"/>
                  <a:gd name="T26" fmla="*/ 235 w 359"/>
                  <a:gd name="T27" fmla="*/ 147 h 358"/>
                  <a:gd name="T28" fmla="*/ 302 w 359"/>
                  <a:gd name="T29" fmla="*/ 148 h 358"/>
                  <a:gd name="T30" fmla="*/ 344 w 359"/>
                  <a:gd name="T31" fmla="*/ 119 h 358"/>
                  <a:gd name="T32" fmla="*/ 193 w 359"/>
                  <a:gd name="T33" fmla="*/ 7 h 358"/>
                  <a:gd name="T34" fmla="*/ 187 w 359"/>
                  <a:gd name="T35" fmla="*/ 2 h 358"/>
                  <a:gd name="T36" fmla="*/ 179 w 359"/>
                  <a:gd name="T37" fmla="*/ 0 h 358"/>
                  <a:gd name="T38" fmla="*/ 172 w 359"/>
                  <a:gd name="T39" fmla="*/ 2 h 358"/>
                  <a:gd name="T40" fmla="*/ 165 w 359"/>
                  <a:gd name="T41" fmla="*/ 7 h 358"/>
                  <a:gd name="T42" fmla="*/ 15 w 359"/>
                  <a:gd name="T43" fmla="*/ 119 h 358"/>
                  <a:gd name="T44" fmla="*/ 6 w 359"/>
                  <a:gd name="T45" fmla="*/ 122 h 358"/>
                  <a:gd name="T46" fmla="*/ 1 w 359"/>
                  <a:gd name="T47" fmla="*/ 128 h 358"/>
                  <a:gd name="T48" fmla="*/ 1 w 359"/>
                  <a:gd name="T49" fmla="*/ 138 h 358"/>
                  <a:gd name="T50" fmla="*/ 5 w 359"/>
                  <a:gd name="T51" fmla="*/ 145 h 358"/>
                  <a:gd name="T52" fmla="*/ 46 w 359"/>
                  <a:gd name="T53" fmla="*/ 338 h 358"/>
                  <a:gd name="T54" fmla="*/ 46 w 359"/>
                  <a:gd name="T55" fmla="*/ 347 h 358"/>
                  <a:gd name="T56" fmla="*/ 51 w 359"/>
                  <a:gd name="T57" fmla="*/ 355 h 358"/>
                  <a:gd name="T58" fmla="*/ 58 w 359"/>
                  <a:gd name="T59" fmla="*/ 358 h 358"/>
                  <a:gd name="T60" fmla="*/ 68 w 359"/>
                  <a:gd name="T61" fmla="*/ 356 h 358"/>
                  <a:gd name="T62" fmla="*/ 290 w 359"/>
                  <a:gd name="T63" fmla="*/ 356 h 358"/>
                  <a:gd name="T64" fmla="*/ 299 w 359"/>
                  <a:gd name="T65" fmla="*/ 358 h 358"/>
                  <a:gd name="T66" fmla="*/ 308 w 359"/>
                  <a:gd name="T67" fmla="*/ 355 h 358"/>
                  <a:gd name="T68" fmla="*/ 313 w 359"/>
                  <a:gd name="T69" fmla="*/ 347 h 358"/>
                  <a:gd name="T70" fmla="*/ 313 w 359"/>
                  <a:gd name="T71" fmla="*/ 338 h 358"/>
                  <a:gd name="T72" fmla="*/ 354 w 359"/>
                  <a:gd name="T73" fmla="*/ 145 h 358"/>
                  <a:gd name="T74" fmla="*/ 358 w 359"/>
                  <a:gd name="T75" fmla="*/ 138 h 358"/>
                  <a:gd name="T76" fmla="*/ 358 w 359"/>
                  <a:gd name="T77" fmla="*/ 128 h 358"/>
                  <a:gd name="T78" fmla="*/ 352 w 359"/>
                  <a:gd name="T79" fmla="*/ 122 h 358"/>
                  <a:gd name="T80" fmla="*/ 344 w 359"/>
                  <a:gd name="T81" fmla="*/ 119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9" h="358">
                    <a:moveTo>
                      <a:pt x="244" y="197"/>
                    </a:moveTo>
                    <a:lnTo>
                      <a:pt x="241" y="200"/>
                    </a:lnTo>
                    <a:lnTo>
                      <a:pt x="239" y="204"/>
                    </a:lnTo>
                    <a:lnTo>
                      <a:pt x="239" y="208"/>
                    </a:lnTo>
                    <a:lnTo>
                      <a:pt x="240" y="213"/>
                    </a:lnTo>
                    <a:lnTo>
                      <a:pt x="271" y="308"/>
                    </a:lnTo>
                    <a:lnTo>
                      <a:pt x="187" y="255"/>
                    </a:lnTo>
                    <a:lnTo>
                      <a:pt x="183" y="253"/>
                    </a:lnTo>
                    <a:lnTo>
                      <a:pt x="179" y="253"/>
                    </a:lnTo>
                    <a:lnTo>
                      <a:pt x="175" y="253"/>
                    </a:lnTo>
                    <a:lnTo>
                      <a:pt x="172" y="255"/>
                    </a:lnTo>
                    <a:lnTo>
                      <a:pt x="87" y="308"/>
                    </a:lnTo>
                    <a:lnTo>
                      <a:pt x="118" y="213"/>
                    </a:lnTo>
                    <a:lnTo>
                      <a:pt x="119" y="208"/>
                    </a:lnTo>
                    <a:lnTo>
                      <a:pt x="119" y="204"/>
                    </a:lnTo>
                    <a:lnTo>
                      <a:pt x="117" y="200"/>
                    </a:lnTo>
                    <a:lnTo>
                      <a:pt x="114" y="197"/>
                    </a:lnTo>
                    <a:lnTo>
                      <a:pt x="56" y="148"/>
                    </a:lnTo>
                    <a:lnTo>
                      <a:pt x="119" y="148"/>
                    </a:lnTo>
                    <a:lnTo>
                      <a:pt x="124" y="147"/>
                    </a:lnTo>
                    <a:lnTo>
                      <a:pt x="127" y="146"/>
                    </a:lnTo>
                    <a:lnTo>
                      <a:pt x="130" y="143"/>
                    </a:lnTo>
                    <a:lnTo>
                      <a:pt x="133" y="140"/>
                    </a:lnTo>
                    <a:lnTo>
                      <a:pt x="179" y="47"/>
                    </a:lnTo>
                    <a:lnTo>
                      <a:pt x="225" y="140"/>
                    </a:lnTo>
                    <a:lnTo>
                      <a:pt x="228" y="143"/>
                    </a:lnTo>
                    <a:lnTo>
                      <a:pt x="232" y="146"/>
                    </a:lnTo>
                    <a:lnTo>
                      <a:pt x="235" y="147"/>
                    </a:lnTo>
                    <a:lnTo>
                      <a:pt x="239" y="148"/>
                    </a:lnTo>
                    <a:lnTo>
                      <a:pt x="302" y="148"/>
                    </a:lnTo>
                    <a:lnTo>
                      <a:pt x="244" y="197"/>
                    </a:lnTo>
                    <a:close/>
                    <a:moveTo>
                      <a:pt x="344" y="119"/>
                    </a:moveTo>
                    <a:lnTo>
                      <a:pt x="249" y="119"/>
                    </a:lnTo>
                    <a:lnTo>
                      <a:pt x="193" y="7"/>
                    </a:lnTo>
                    <a:lnTo>
                      <a:pt x="190" y="4"/>
                    </a:lnTo>
                    <a:lnTo>
                      <a:pt x="187" y="2"/>
                    </a:lnTo>
                    <a:lnTo>
                      <a:pt x="183" y="0"/>
                    </a:lnTo>
                    <a:lnTo>
                      <a:pt x="179" y="0"/>
                    </a:lnTo>
                    <a:lnTo>
                      <a:pt x="175" y="0"/>
                    </a:lnTo>
                    <a:lnTo>
                      <a:pt x="172" y="2"/>
                    </a:lnTo>
                    <a:lnTo>
                      <a:pt x="168" y="4"/>
                    </a:lnTo>
                    <a:lnTo>
                      <a:pt x="165" y="7"/>
                    </a:lnTo>
                    <a:lnTo>
                      <a:pt x="110" y="119"/>
                    </a:lnTo>
                    <a:lnTo>
                      <a:pt x="15" y="119"/>
                    </a:lnTo>
                    <a:lnTo>
                      <a:pt x="10" y="120"/>
                    </a:lnTo>
                    <a:lnTo>
                      <a:pt x="6" y="122"/>
                    </a:lnTo>
                    <a:lnTo>
                      <a:pt x="3" y="124"/>
                    </a:lnTo>
                    <a:lnTo>
                      <a:pt x="1" y="128"/>
                    </a:lnTo>
                    <a:lnTo>
                      <a:pt x="0" y="132"/>
                    </a:lnTo>
                    <a:lnTo>
                      <a:pt x="1" y="138"/>
                    </a:lnTo>
                    <a:lnTo>
                      <a:pt x="2" y="142"/>
                    </a:lnTo>
                    <a:lnTo>
                      <a:pt x="5" y="145"/>
                    </a:lnTo>
                    <a:lnTo>
                      <a:pt x="87" y="214"/>
                    </a:lnTo>
                    <a:lnTo>
                      <a:pt x="46" y="338"/>
                    </a:lnTo>
                    <a:lnTo>
                      <a:pt x="44" y="343"/>
                    </a:lnTo>
                    <a:lnTo>
                      <a:pt x="46" y="347"/>
                    </a:lnTo>
                    <a:lnTo>
                      <a:pt x="48" y="352"/>
                    </a:lnTo>
                    <a:lnTo>
                      <a:pt x="51" y="355"/>
                    </a:lnTo>
                    <a:lnTo>
                      <a:pt x="54" y="357"/>
                    </a:lnTo>
                    <a:lnTo>
                      <a:pt x="58" y="358"/>
                    </a:lnTo>
                    <a:lnTo>
                      <a:pt x="64" y="357"/>
                    </a:lnTo>
                    <a:lnTo>
                      <a:pt x="68" y="356"/>
                    </a:lnTo>
                    <a:lnTo>
                      <a:pt x="179" y="285"/>
                    </a:lnTo>
                    <a:lnTo>
                      <a:pt x="290" y="356"/>
                    </a:lnTo>
                    <a:lnTo>
                      <a:pt x="295" y="357"/>
                    </a:lnTo>
                    <a:lnTo>
                      <a:pt x="299" y="358"/>
                    </a:lnTo>
                    <a:lnTo>
                      <a:pt x="303" y="357"/>
                    </a:lnTo>
                    <a:lnTo>
                      <a:pt x="308" y="355"/>
                    </a:lnTo>
                    <a:lnTo>
                      <a:pt x="311" y="352"/>
                    </a:lnTo>
                    <a:lnTo>
                      <a:pt x="313" y="347"/>
                    </a:lnTo>
                    <a:lnTo>
                      <a:pt x="314" y="343"/>
                    </a:lnTo>
                    <a:lnTo>
                      <a:pt x="313" y="338"/>
                    </a:lnTo>
                    <a:lnTo>
                      <a:pt x="271" y="214"/>
                    </a:lnTo>
                    <a:lnTo>
                      <a:pt x="354" y="145"/>
                    </a:lnTo>
                    <a:lnTo>
                      <a:pt x="357" y="141"/>
                    </a:lnTo>
                    <a:lnTo>
                      <a:pt x="358" y="138"/>
                    </a:lnTo>
                    <a:lnTo>
                      <a:pt x="359" y="132"/>
                    </a:lnTo>
                    <a:lnTo>
                      <a:pt x="358" y="128"/>
                    </a:lnTo>
                    <a:lnTo>
                      <a:pt x="356" y="124"/>
                    </a:lnTo>
                    <a:lnTo>
                      <a:pt x="352" y="122"/>
                    </a:lnTo>
                    <a:lnTo>
                      <a:pt x="348" y="120"/>
                    </a:lnTo>
                    <a:lnTo>
                      <a:pt x="344" y="119"/>
                    </a:lnTo>
                    <a:lnTo>
                      <a:pt x="344" y="1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Freeform 312"/>
              <p:cNvSpPr>
                <a:spLocks/>
              </p:cNvSpPr>
              <p:nvPr/>
            </p:nvSpPr>
            <p:spPr bwMode="auto">
              <a:xfrm>
                <a:off x="7791450" y="1919288"/>
                <a:ext cx="103188" cy="109537"/>
              </a:xfrm>
              <a:custGeom>
                <a:avLst/>
                <a:gdLst>
                  <a:gd name="T0" fmla="*/ 324 w 328"/>
                  <a:gd name="T1" fmla="*/ 3 h 343"/>
                  <a:gd name="T2" fmla="*/ 318 w 328"/>
                  <a:gd name="T3" fmla="*/ 0 h 343"/>
                  <a:gd name="T4" fmla="*/ 210 w 328"/>
                  <a:gd name="T5" fmla="*/ 0 h 343"/>
                  <a:gd name="T6" fmla="*/ 114 w 328"/>
                  <a:gd name="T7" fmla="*/ 0 h 343"/>
                  <a:gd name="T8" fmla="*/ 108 w 328"/>
                  <a:gd name="T9" fmla="*/ 4 h 343"/>
                  <a:gd name="T10" fmla="*/ 1 w 328"/>
                  <a:gd name="T11" fmla="*/ 233 h 343"/>
                  <a:gd name="T12" fmla="*/ 0 w 328"/>
                  <a:gd name="T13" fmla="*/ 238 h 343"/>
                  <a:gd name="T14" fmla="*/ 1 w 328"/>
                  <a:gd name="T15" fmla="*/ 243 h 343"/>
                  <a:gd name="T16" fmla="*/ 3 w 328"/>
                  <a:gd name="T17" fmla="*/ 249 h 343"/>
                  <a:gd name="T18" fmla="*/ 9 w 328"/>
                  <a:gd name="T19" fmla="*/ 252 h 343"/>
                  <a:gd name="T20" fmla="*/ 14 w 328"/>
                  <a:gd name="T21" fmla="*/ 253 h 343"/>
                  <a:gd name="T22" fmla="*/ 20 w 328"/>
                  <a:gd name="T23" fmla="*/ 253 h 343"/>
                  <a:gd name="T24" fmla="*/ 25 w 328"/>
                  <a:gd name="T25" fmla="*/ 250 h 343"/>
                  <a:gd name="T26" fmla="*/ 29 w 328"/>
                  <a:gd name="T27" fmla="*/ 245 h 343"/>
                  <a:gd name="T28" fmla="*/ 186 w 328"/>
                  <a:gd name="T29" fmla="*/ 30 h 343"/>
                  <a:gd name="T30" fmla="*/ 75 w 328"/>
                  <a:gd name="T31" fmla="*/ 280 h 343"/>
                  <a:gd name="T32" fmla="*/ 75 w 328"/>
                  <a:gd name="T33" fmla="*/ 286 h 343"/>
                  <a:gd name="T34" fmla="*/ 77 w 328"/>
                  <a:gd name="T35" fmla="*/ 292 h 343"/>
                  <a:gd name="T36" fmla="*/ 81 w 328"/>
                  <a:gd name="T37" fmla="*/ 296 h 343"/>
                  <a:gd name="T38" fmla="*/ 87 w 328"/>
                  <a:gd name="T39" fmla="*/ 298 h 343"/>
                  <a:gd name="T40" fmla="*/ 90 w 328"/>
                  <a:gd name="T41" fmla="*/ 298 h 343"/>
                  <a:gd name="T42" fmla="*/ 92 w 328"/>
                  <a:gd name="T43" fmla="*/ 298 h 343"/>
                  <a:gd name="T44" fmla="*/ 95 w 328"/>
                  <a:gd name="T45" fmla="*/ 297 h 343"/>
                  <a:gd name="T46" fmla="*/ 97 w 328"/>
                  <a:gd name="T47" fmla="*/ 296 h 343"/>
                  <a:gd name="T48" fmla="*/ 99 w 328"/>
                  <a:gd name="T49" fmla="*/ 295 h 343"/>
                  <a:gd name="T50" fmla="*/ 102 w 328"/>
                  <a:gd name="T51" fmla="*/ 292 h 343"/>
                  <a:gd name="T52" fmla="*/ 219 w 328"/>
                  <a:gd name="T53" fmla="*/ 30 h 343"/>
                  <a:gd name="T54" fmla="*/ 151 w 328"/>
                  <a:gd name="T55" fmla="*/ 322 h 343"/>
                  <a:gd name="T56" fmla="*/ 150 w 328"/>
                  <a:gd name="T57" fmla="*/ 328 h 343"/>
                  <a:gd name="T58" fmla="*/ 150 w 328"/>
                  <a:gd name="T59" fmla="*/ 333 h 343"/>
                  <a:gd name="T60" fmla="*/ 153 w 328"/>
                  <a:gd name="T61" fmla="*/ 339 h 343"/>
                  <a:gd name="T62" fmla="*/ 158 w 328"/>
                  <a:gd name="T63" fmla="*/ 342 h 343"/>
                  <a:gd name="T64" fmla="*/ 165 w 328"/>
                  <a:gd name="T65" fmla="*/ 343 h 343"/>
                  <a:gd name="T66" fmla="*/ 172 w 328"/>
                  <a:gd name="T67" fmla="*/ 341 h 343"/>
                  <a:gd name="T68" fmla="*/ 178 w 328"/>
                  <a:gd name="T69" fmla="*/ 334 h 343"/>
                  <a:gd name="T70" fmla="*/ 328 w 328"/>
                  <a:gd name="T71" fmla="*/ 17 h 343"/>
                  <a:gd name="T72" fmla="*/ 328 w 328"/>
                  <a:gd name="T73" fmla="*/ 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8" h="343">
                    <a:moveTo>
                      <a:pt x="326" y="6"/>
                    </a:moveTo>
                    <a:lnTo>
                      <a:pt x="324" y="3"/>
                    </a:lnTo>
                    <a:lnTo>
                      <a:pt x="321" y="1"/>
                    </a:lnTo>
                    <a:lnTo>
                      <a:pt x="318" y="0"/>
                    </a:lnTo>
                    <a:lnTo>
                      <a:pt x="313" y="0"/>
                    </a:lnTo>
                    <a:lnTo>
                      <a:pt x="210" y="0"/>
                    </a:lnTo>
                    <a:lnTo>
                      <a:pt x="119" y="0"/>
                    </a:lnTo>
                    <a:lnTo>
                      <a:pt x="114" y="0"/>
                    </a:lnTo>
                    <a:lnTo>
                      <a:pt x="111" y="2"/>
                    </a:lnTo>
                    <a:lnTo>
                      <a:pt x="108" y="4"/>
                    </a:lnTo>
                    <a:lnTo>
                      <a:pt x="106" y="8"/>
                    </a:lnTo>
                    <a:lnTo>
                      <a:pt x="1" y="233"/>
                    </a:lnTo>
                    <a:lnTo>
                      <a:pt x="0" y="235"/>
                    </a:lnTo>
                    <a:lnTo>
                      <a:pt x="0" y="238"/>
                    </a:lnTo>
                    <a:lnTo>
                      <a:pt x="0" y="241"/>
                    </a:lnTo>
                    <a:lnTo>
                      <a:pt x="1" y="243"/>
                    </a:lnTo>
                    <a:lnTo>
                      <a:pt x="2" y="247"/>
                    </a:lnTo>
                    <a:lnTo>
                      <a:pt x="3" y="249"/>
                    </a:lnTo>
                    <a:lnTo>
                      <a:pt x="6" y="251"/>
                    </a:lnTo>
                    <a:lnTo>
                      <a:pt x="9" y="252"/>
                    </a:lnTo>
                    <a:lnTo>
                      <a:pt x="12" y="253"/>
                    </a:lnTo>
                    <a:lnTo>
                      <a:pt x="14" y="253"/>
                    </a:lnTo>
                    <a:lnTo>
                      <a:pt x="17" y="253"/>
                    </a:lnTo>
                    <a:lnTo>
                      <a:pt x="20" y="253"/>
                    </a:lnTo>
                    <a:lnTo>
                      <a:pt x="22" y="251"/>
                    </a:lnTo>
                    <a:lnTo>
                      <a:pt x="25" y="250"/>
                    </a:lnTo>
                    <a:lnTo>
                      <a:pt x="27" y="248"/>
                    </a:lnTo>
                    <a:lnTo>
                      <a:pt x="29" y="245"/>
                    </a:lnTo>
                    <a:lnTo>
                      <a:pt x="128" y="30"/>
                    </a:lnTo>
                    <a:lnTo>
                      <a:pt x="186" y="30"/>
                    </a:lnTo>
                    <a:lnTo>
                      <a:pt x="76" y="278"/>
                    </a:lnTo>
                    <a:lnTo>
                      <a:pt x="75" y="280"/>
                    </a:lnTo>
                    <a:lnTo>
                      <a:pt x="75" y="283"/>
                    </a:lnTo>
                    <a:lnTo>
                      <a:pt x="75" y="286"/>
                    </a:lnTo>
                    <a:lnTo>
                      <a:pt x="76" y="288"/>
                    </a:lnTo>
                    <a:lnTo>
                      <a:pt x="77" y="292"/>
                    </a:lnTo>
                    <a:lnTo>
                      <a:pt x="79" y="294"/>
                    </a:lnTo>
                    <a:lnTo>
                      <a:pt x="81" y="296"/>
                    </a:lnTo>
                    <a:lnTo>
                      <a:pt x="83" y="297"/>
                    </a:lnTo>
                    <a:lnTo>
                      <a:pt x="87" y="298"/>
                    </a:lnTo>
                    <a:lnTo>
                      <a:pt x="90" y="298"/>
                    </a:lnTo>
                    <a:lnTo>
                      <a:pt x="90" y="298"/>
                    </a:lnTo>
                    <a:lnTo>
                      <a:pt x="90" y="298"/>
                    </a:lnTo>
                    <a:lnTo>
                      <a:pt x="92" y="298"/>
                    </a:lnTo>
                    <a:lnTo>
                      <a:pt x="94" y="298"/>
                    </a:lnTo>
                    <a:lnTo>
                      <a:pt x="95" y="297"/>
                    </a:lnTo>
                    <a:lnTo>
                      <a:pt x="95" y="297"/>
                    </a:lnTo>
                    <a:lnTo>
                      <a:pt x="97" y="296"/>
                    </a:lnTo>
                    <a:lnTo>
                      <a:pt x="99" y="295"/>
                    </a:lnTo>
                    <a:lnTo>
                      <a:pt x="99" y="295"/>
                    </a:lnTo>
                    <a:lnTo>
                      <a:pt x="101" y="294"/>
                    </a:lnTo>
                    <a:lnTo>
                      <a:pt x="102" y="292"/>
                    </a:lnTo>
                    <a:lnTo>
                      <a:pt x="104" y="289"/>
                    </a:lnTo>
                    <a:lnTo>
                      <a:pt x="219" y="30"/>
                    </a:lnTo>
                    <a:lnTo>
                      <a:pt x="290" y="30"/>
                    </a:lnTo>
                    <a:lnTo>
                      <a:pt x="151" y="322"/>
                    </a:lnTo>
                    <a:lnTo>
                      <a:pt x="150" y="325"/>
                    </a:lnTo>
                    <a:lnTo>
                      <a:pt x="150" y="328"/>
                    </a:lnTo>
                    <a:lnTo>
                      <a:pt x="150" y="330"/>
                    </a:lnTo>
                    <a:lnTo>
                      <a:pt x="150" y="333"/>
                    </a:lnTo>
                    <a:lnTo>
                      <a:pt x="152" y="335"/>
                    </a:lnTo>
                    <a:lnTo>
                      <a:pt x="153" y="339"/>
                    </a:lnTo>
                    <a:lnTo>
                      <a:pt x="155" y="340"/>
                    </a:lnTo>
                    <a:lnTo>
                      <a:pt x="158" y="342"/>
                    </a:lnTo>
                    <a:lnTo>
                      <a:pt x="161" y="343"/>
                    </a:lnTo>
                    <a:lnTo>
                      <a:pt x="165" y="343"/>
                    </a:lnTo>
                    <a:lnTo>
                      <a:pt x="168" y="343"/>
                    </a:lnTo>
                    <a:lnTo>
                      <a:pt x="172" y="341"/>
                    </a:lnTo>
                    <a:lnTo>
                      <a:pt x="175" y="339"/>
                    </a:lnTo>
                    <a:lnTo>
                      <a:pt x="178" y="334"/>
                    </a:lnTo>
                    <a:lnTo>
                      <a:pt x="327" y="21"/>
                    </a:lnTo>
                    <a:lnTo>
                      <a:pt x="328" y="17"/>
                    </a:lnTo>
                    <a:lnTo>
                      <a:pt x="328" y="14"/>
                    </a:lnTo>
                    <a:lnTo>
                      <a:pt x="328" y="9"/>
                    </a:lnTo>
                    <a:lnTo>
                      <a:pt x="326"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Freeform 313"/>
              <p:cNvSpPr>
                <a:spLocks/>
              </p:cNvSpPr>
              <p:nvPr/>
            </p:nvSpPr>
            <p:spPr bwMode="auto">
              <a:xfrm>
                <a:off x="7620000" y="1919288"/>
                <a:ext cx="104775" cy="109537"/>
              </a:xfrm>
              <a:custGeom>
                <a:avLst/>
                <a:gdLst>
                  <a:gd name="T0" fmla="*/ 167 w 328"/>
                  <a:gd name="T1" fmla="*/ 343 h 343"/>
                  <a:gd name="T2" fmla="*/ 173 w 328"/>
                  <a:gd name="T3" fmla="*/ 340 h 343"/>
                  <a:gd name="T4" fmla="*/ 177 w 328"/>
                  <a:gd name="T5" fmla="*/ 335 h 343"/>
                  <a:gd name="T6" fmla="*/ 179 w 328"/>
                  <a:gd name="T7" fmla="*/ 330 h 343"/>
                  <a:gd name="T8" fmla="*/ 179 w 328"/>
                  <a:gd name="T9" fmla="*/ 325 h 343"/>
                  <a:gd name="T10" fmla="*/ 39 w 328"/>
                  <a:gd name="T11" fmla="*/ 30 h 343"/>
                  <a:gd name="T12" fmla="*/ 225 w 328"/>
                  <a:gd name="T13" fmla="*/ 289 h 343"/>
                  <a:gd name="T14" fmla="*/ 228 w 328"/>
                  <a:gd name="T15" fmla="*/ 294 h 343"/>
                  <a:gd name="T16" fmla="*/ 229 w 328"/>
                  <a:gd name="T17" fmla="*/ 295 h 343"/>
                  <a:gd name="T18" fmla="*/ 232 w 328"/>
                  <a:gd name="T19" fmla="*/ 297 h 343"/>
                  <a:gd name="T20" fmla="*/ 234 w 328"/>
                  <a:gd name="T21" fmla="*/ 298 h 343"/>
                  <a:gd name="T22" fmla="*/ 239 w 328"/>
                  <a:gd name="T23" fmla="*/ 298 h 343"/>
                  <a:gd name="T24" fmla="*/ 239 w 328"/>
                  <a:gd name="T25" fmla="*/ 298 h 343"/>
                  <a:gd name="T26" fmla="*/ 245 w 328"/>
                  <a:gd name="T27" fmla="*/ 297 h 343"/>
                  <a:gd name="T28" fmla="*/ 249 w 328"/>
                  <a:gd name="T29" fmla="*/ 294 h 343"/>
                  <a:gd name="T30" fmla="*/ 252 w 328"/>
                  <a:gd name="T31" fmla="*/ 288 h 343"/>
                  <a:gd name="T32" fmla="*/ 254 w 328"/>
                  <a:gd name="T33" fmla="*/ 283 h 343"/>
                  <a:gd name="T34" fmla="*/ 252 w 328"/>
                  <a:gd name="T35" fmla="*/ 278 h 343"/>
                  <a:gd name="T36" fmla="*/ 199 w 328"/>
                  <a:gd name="T37" fmla="*/ 30 h 343"/>
                  <a:gd name="T38" fmla="*/ 302 w 328"/>
                  <a:gd name="T39" fmla="*/ 248 h 343"/>
                  <a:gd name="T40" fmla="*/ 306 w 328"/>
                  <a:gd name="T41" fmla="*/ 251 h 343"/>
                  <a:gd name="T42" fmla="*/ 311 w 328"/>
                  <a:gd name="T43" fmla="*/ 253 h 343"/>
                  <a:gd name="T44" fmla="*/ 317 w 328"/>
                  <a:gd name="T45" fmla="*/ 253 h 343"/>
                  <a:gd name="T46" fmla="*/ 323 w 328"/>
                  <a:gd name="T47" fmla="*/ 251 h 343"/>
                  <a:gd name="T48" fmla="*/ 326 w 328"/>
                  <a:gd name="T49" fmla="*/ 247 h 343"/>
                  <a:gd name="T50" fmla="*/ 328 w 328"/>
                  <a:gd name="T51" fmla="*/ 241 h 343"/>
                  <a:gd name="T52" fmla="*/ 328 w 328"/>
                  <a:gd name="T53" fmla="*/ 235 h 343"/>
                  <a:gd name="T54" fmla="*/ 223 w 328"/>
                  <a:gd name="T55" fmla="*/ 8 h 343"/>
                  <a:gd name="T56" fmla="*/ 217 w 328"/>
                  <a:gd name="T57" fmla="*/ 2 h 343"/>
                  <a:gd name="T58" fmla="*/ 209 w 328"/>
                  <a:gd name="T59" fmla="*/ 0 h 343"/>
                  <a:gd name="T60" fmla="*/ 15 w 328"/>
                  <a:gd name="T61" fmla="*/ 0 h 343"/>
                  <a:gd name="T62" fmla="*/ 8 w 328"/>
                  <a:gd name="T63" fmla="*/ 1 h 343"/>
                  <a:gd name="T64" fmla="*/ 2 w 328"/>
                  <a:gd name="T65" fmla="*/ 6 h 343"/>
                  <a:gd name="T66" fmla="*/ 0 w 328"/>
                  <a:gd name="T67" fmla="*/ 14 h 343"/>
                  <a:gd name="T68" fmla="*/ 1 w 328"/>
                  <a:gd name="T69" fmla="*/ 21 h 343"/>
                  <a:gd name="T70" fmla="*/ 153 w 328"/>
                  <a:gd name="T71" fmla="*/ 339 h 343"/>
                  <a:gd name="T72" fmla="*/ 161 w 328"/>
                  <a:gd name="T73" fmla="*/ 343 h 343"/>
                  <a:gd name="T74" fmla="*/ 164 w 328"/>
                  <a:gd name="T7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8" h="343">
                    <a:moveTo>
                      <a:pt x="164" y="343"/>
                    </a:moveTo>
                    <a:lnTo>
                      <a:pt x="167" y="343"/>
                    </a:lnTo>
                    <a:lnTo>
                      <a:pt x="170" y="342"/>
                    </a:lnTo>
                    <a:lnTo>
                      <a:pt x="173" y="340"/>
                    </a:lnTo>
                    <a:lnTo>
                      <a:pt x="175" y="339"/>
                    </a:lnTo>
                    <a:lnTo>
                      <a:pt x="177" y="335"/>
                    </a:lnTo>
                    <a:lnTo>
                      <a:pt x="179" y="333"/>
                    </a:lnTo>
                    <a:lnTo>
                      <a:pt x="179" y="330"/>
                    </a:lnTo>
                    <a:lnTo>
                      <a:pt x="179" y="328"/>
                    </a:lnTo>
                    <a:lnTo>
                      <a:pt x="179" y="325"/>
                    </a:lnTo>
                    <a:lnTo>
                      <a:pt x="178" y="322"/>
                    </a:lnTo>
                    <a:lnTo>
                      <a:pt x="39" y="30"/>
                    </a:lnTo>
                    <a:lnTo>
                      <a:pt x="109" y="30"/>
                    </a:lnTo>
                    <a:lnTo>
                      <a:pt x="225" y="289"/>
                    </a:lnTo>
                    <a:lnTo>
                      <a:pt x="227" y="292"/>
                    </a:lnTo>
                    <a:lnTo>
                      <a:pt x="228" y="294"/>
                    </a:lnTo>
                    <a:lnTo>
                      <a:pt x="229" y="295"/>
                    </a:lnTo>
                    <a:lnTo>
                      <a:pt x="229" y="295"/>
                    </a:lnTo>
                    <a:lnTo>
                      <a:pt x="231" y="296"/>
                    </a:lnTo>
                    <a:lnTo>
                      <a:pt x="232" y="297"/>
                    </a:lnTo>
                    <a:lnTo>
                      <a:pt x="233" y="297"/>
                    </a:lnTo>
                    <a:lnTo>
                      <a:pt x="234" y="298"/>
                    </a:lnTo>
                    <a:lnTo>
                      <a:pt x="236" y="298"/>
                    </a:lnTo>
                    <a:lnTo>
                      <a:pt x="239" y="298"/>
                    </a:lnTo>
                    <a:lnTo>
                      <a:pt x="239" y="298"/>
                    </a:lnTo>
                    <a:lnTo>
                      <a:pt x="239" y="298"/>
                    </a:lnTo>
                    <a:lnTo>
                      <a:pt x="242" y="298"/>
                    </a:lnTo>
                    <a:lnTo>
                      <a:pt x="245" y="297"/>
                    </a:lnTo>
                    <a:lnTo>
                      <a:pt x="247" y="296"/>
                    </a:lnTo>
                    <a:lnTo>
                      <a:pt x="249" y="294"/>
                    </a:lnTo>
                    <a:lnTo>
                      <a:pt x="251" y="292"/>
                    </a:lnTo>
                    <a:lnTo>
                      <a:pt x="252" y="288"/>
                    </a:lnTo>
                    <a:lnTo>
                      <a:pt x="254" y="286"/>
                    </a:lnTo>
                    <a:lnTo>
                      <a:pt x="254" y="283"/>
                    </a:lnTo>
                    <a:lnTo>
                      <a:pt x="254" y="280"/>
                    </a:lnTo>
                    <a:lnTo>
                      <a:pt x="252" y="278"/>
                    </a:lnTo>
                    <a:lnTo>
                      <a:pt x="142" y="30"/>
                    </a:lnTo>
                    <a:lnTo>
                      <a:pt x="199" y="30"/>
                    </a:lnTo>
                    <a:lnTo>
                      <a:pt x="300" y="245"/>
                    </a:lnTo>
                    <a:lnTo>
                      <a:pt x="302" y="248"/>
                    </a:lnTo>
                    <a:lnTo>
                      <a:pt x="304" y="250"/>
                    </a:lnTo>
                    <a:lnTo>
                      <a:pt x="306" y="251"/>
                    </a:lnTo>
                    <a:lnTo>
                      <a:pt x="308" y="252"/>
                    </a:lnTo>
                    <a:lnTo>
                      <a:pt x="311" y="253"/>
                    </a:lnTo>
                    <a:lnTo>
                      <a:pt x="314" y="253"/>
                    </a:lnTo>
                    <a:lnTo>
                      <a:pt x="317" y="253"/>
                    </a:lnTo>
                    <a:lnTo>
                      <a:pt x="320" y="252"/>
                    </a:lnTo>
                    <a:lnTo>
                      <a:pt x="323" y="251"/>
                    </a:lnTo>
                    <a:lnTo>
                      <a:pt x="325" y="249"/>
                    </a:lnTo>
                    <a:lnTo>
                      <a:pt x="326" y="247"/>
                    </a:lnTo>
                    <a:lnTo>
                      <a:pt x="327" y="243"/>
                    </a:lnTo>
                    <a:lnTo>
                      <a:pt x="328" y="241"/>
                    </a:lnTo>
                    <a:lnTo>
                      <a:pt x="328" y="238"/>
                    </a:lnTo>
                    <a:lnTo>
                      <a:pt x="328" y="235"/>
                    </a:lnTo>
                    <a:lnTo>
                      <a:pt x="327" y="233"/>
                    </a:lnTo>
                    <a:lnTo>
                      <a:pt x="223" y="8"/>
                    </a:lnTo>
                    <a:lnTo>
                      <a:pt x="220" y="4"/>
                    </a:lnTo>
                    <a:lnTo>
                      <a:pt x="217" y="2"/>
                    </a:lnTo>
                    <a:lnTo>
                      <a:pt x="213" y="0"/>
                    </a:lnTo>
                    <a:lnTo>
                      <a:pt x="209" y="0"/>
                    </a:lnTo>
                    <a:lnTo>
                      <a:pt x="119" y="0"/>
                    </a:lnTo>
                    <a:lnTo>
                      <a:pt x="15" y="0"/>
                    </a:lnTo>
                    <a:lnTo>
                      <a:pt x="11" y="0"/>
                    </a:lnTo>
                    <a:lnTo>
                      <a:pt x="8" y="1"/>
                    </a:lnTo>
                    <a:lnTo>
                      <a:pt x="4" y="3"/>
                    </a:lnTo>
                    <a:lnTo>
                      <a:pt x="2" y="6"/>
                    </a:lnTo>
                    <a:lnTo>
                      <a:pt x="0" y="9"/>
                    </a:lnTo>
                    <a:lnTo>
                      <a:pt x="0" y="14"/>
                    </a:lnTo>
                    <a:lnTo>
                      <a:pt x="0" y="17"/>
                    </a:lnTo>
                    <a:lnTo>
                      <a:pt x="1" y="21"/>
                    </a:lnTo>
                    <a:lnTo>
                      <a:pt x="151" y="334"/>
                    </a:lnTo>
                    <a:lnTo>
                      <a:pt x="153" y="339"/>
                    </a:lnTo>
                    <a:lnTo>
                      <a:pt x="156" y="341"/>
                    </a:lnTo>
                    <a:lnTo>
                      <a:pt x="161" y="343"/>
                    </a:lnTo>
                    <a:lnTo>
                      <a:pt x="164" y="343"/>
                    </a:lnTo>
                    <a:lnTo>
                      <a:pt x="164" y="3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27" name="Picture Placeholder 26" descr="A desktop computer monitor sitting on top of a desk&#10;&#10;Description automatically generated">
            <a:extLst>
              <a:ext uri="{FF2B5EF4-FFF2-40B4-BE49-F238E27FC236}">
                <a16:creationId xmlns:a16="http://schemas.microsoft.com/office/drawing/2014/main" id="{9AE6D23B-70EF-4107-8D73-EAA9ADEFB483}"/>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481" r="2481"/>
          <a:stretch>
            <a:fillRect/>
          </a:stretch>
        </p:blipFill>
        <p:spPr>
          <a:xfrm>
            <a:off x="-1" y="444500"/>
            <a:ext cx="5644648" cy="5940000"/>
          </a:xfrm>
        </p:spPr>
      </p:pic>
      <p:sp>
        <p:nvSpPr>
          <p:cNvPr id="2" name="Rectangle 1"/>
          <p:cNvSpPr/>
          <p:nvPr/>
        </p:nvSpPr>
        <p:spPr>
          <a:xfrm>
            <a:off x="2382" y="493913"/>
            <a:ext cx="5642265" cy="5792005"/>
          </a:xfrm>
          <a:prstGeom prst="rect">
            <a:avLst/>
          </a:prstGeom>
          <a:solidFill>
            <a:srgbClr val="8AAAE5">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Tools">
            <a:extLst>
              <a:ext uri="{FF2B5EF4-FFF2-40B4-BE49-F238E27FC236}">
                <a16:creationId xmlns:a16="http://schemas.microsoft.com/office/drawing/2014/main" id="{E226EFF9-56A5-4F55-B542-56A3B898C4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26760" y="3514901"/>
            <a:ext cx="522064" cy="497755"/>
          </a:xfrm>
          <a:prstGeom prst="rect">
            <a:avLst/>
          </a:prstGeom>
        </p:spPr>
      </p:pic>
      <p:pic>
        <p:nvPicPr>
          <p:cNvPr id="55" name="Picture 54" descr="A close up of a sign&#10;&#10;Description automatically generated">
            <a:extLst>
              <a:ext uri="{FF2B5EF4-FFF2-40B4-BE49-F238E27FC236}">
                <a16:creationId xmlns:a16="http://schemas.microsoft.com/office/drawing/2014/main" id="{1EF23288-E6BE-1332-98D3-5E43DA7C23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8461" y="5385040"/>
            <a:ext cx="933450" cy="914400"/>
          </a:xfrm>
          <a:prstGeom prst="rect">
            <a:avLst/>
          </a:prstGeom>
        </p:spPr>
      </p:pic>
      <p:sp>
        <p:nvSpPr>
          <p:cNvPr id="6" name="TextBox 5">
            <a:extLst>
              <a:ext uri="{FF2B5EF4-FFF2-40B4-BE49-F238E27FC236}">
                <a16:creationId xmlns:a16="http://schemas.microsoft.com/office/drawing/2014/main" id="{08A1ECD3-23BA-2B35-D464-313EF543B95E}"/>
              </a:ext>
            </a:extLst>
          </p:cNvPr>
          <p:cNvSpPr txBox="1"/>
          <p:nvPr/>
        </p:nvSpPr>
        <p:spPr>
          <a:xfrm>
            <a:off x="6743826" y="5503175"/>
            <a:ext cx="3585162" cy="461665"/>
          </a:xfrm>
          <a:prstGeom prst="rect">
            <a:avLst/>
          </a:prstGeom>
          <a:noFill/>
        </p:spPr>
        <p:txBody>
          <a:bodyPr wrap="square" rtlCol="0">
            <a:spAutoFit/>
          </a:bodyPr>
          <a:lstStyle/>
          <a:p>
            <a:r>
              <a:rPr lang="en-IN" sz="2400" b="1" dirty="0">
                <a:solidFill>
                  <a:schemeClr val="accent5">
                    <a:lumMod val="60000"/>
                    <a:lumOff val="40000"/>
                  </a:schemeClr>
                </a:solidFill>
              </a:rPr>
              <a:t>ROTOMEK SEALS PVT. LTD</a:t>
            </a:r>
          </a:p>
        </p:txBody>
      </p:sp>
      <p:sp>
        <p:nvSpPr>
          <p:cNvPr id="22" name="TextBox 21">
            <a:extLst>
              <a:ext uri="{FF2B5EF4-FFF2-40B4-BE49-F238E27FC236}">
                <a16:creationId xmlns:a16="http://schemas.microsoft.com/office/drawing/2014/main" id="{43677A88-8D4A-8EAA-FBE7-74089BEA5105}"/>
              </a:ext>
            </a:extLst>
          </p:cNvPr>
          <p:cNvSpPr txBox="1"/>
          <p:nvPr/>
        </p:nvSpPr>
        <p:spPr>
          <a:xfrm>
            <a:off x="6761911" y="5829108"/>
            <a:ext cx="3135086" cy="369332"/>
          </a:xfrm>
          <a:prstGeom prst="rect">
            <a:avLst/>
          </a:prstGeom>
          <a:noFill/>
        </p:spPr>
        <p:txBody>
          <a:bodyPr wrap="square" rtlCol="0">
            <a:spAutoFit/>
          </a:bodyPr>
          <a:lstStyle/>
          <a:p>
            <a:r>
              <a:rPr lang="en-IN" i="1" dirty="0"/>
              <a:t>better by </a:t>
            </a:r>
            <a:r>
              <a:rPr lang="en-IN" i="1" dirty="0" err="1"/>
              <a:t>techcellence</a:t>
            </a:r>
            <a:r>
              <a:rPr lang="en-IN" i="1" dirty="0"/>
              <a:t>.</a:t>
            </a:r>
          </a:p>
        </p:txBody>
      </p:sp>
    </p:spTree>
    <p:extLst>
      <p:ext uri="{BB962C8B-B14F-4D97-AF65-F5344CB8AC3E}">
        <p14:creationId xmlns:p14="http://schemas.microsoft.com/office/powerpoint/2010/main" val="3669088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descr="A close up of a factory&#10;&#10;Description automatically generated">
            <a:extLst>
              <a:ext uri="{FF2B5EF4-FFF2-40B4-BE49-F238E27FC236}">
                <a16:creationId xmlns:a16="http://schemas.microsoft.com/office/drawing/2014/main" id="{8D221EC2-C489-480B-A309-CD164946EA60}"/>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37363" b="37363"/>
          <a:stretch>
            <a:fillRect/>
          </a:stretch>
        </p:blipFill>
        <p:spPr>
          <a:xfrm>
            <a:off x="0" y="-14989"/>
            <a:ext cx="12192000" cy="2054810"/>
          </a:xfrm>
        </p:spPr>
      </p:pic>
      <p:sp>
        <p:nvSpPr>
          <p:cNvPr id="15" name="Rectangle 14"/>
          <p:cNvSpPr/>
          <p:nvPr/>
        </p:nvSpPr>
        <p:spPr>
          <a:xfrm>
            <a:off x="0" y="-13300"/>
            <a:ext cx="12192000" cy="2054809"/>
          </a:xfrm>
          <a:prstGeom prst="rect">
            <a:avLst/>
          </a:prstGeom>
          <a:solidFill>
            <a:srgbClr val="8AAAE5">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endParaRPr>
          </a:p>
        </p:txBody>
      </p:sp>
      <p:sp>
        <p:nvSpPr>
          <p:cNvPr id="12" name="Line 6"/>
          <p:cNvSpPr>
            <a:spLocks noChangeShapeType="1"/>
          </p:cNvSpPr>
          <p:nvPr/>
        </p:nvSpPr>
        <p:spPr bwMode="auto">
          <a:xfrm>
            <a:off x="5914231" y="1207509"/>
            <a:ext cx="363538" cy="0"/>
          </a:xfrm>
          <a:prstGeom prst="line">
            <a:avLst/>
          </a:prstGeom>
          <a:noFill/>
          <a:ln w="57150"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95000"/>
                  <a:lumOff val="5000"/>
                </a:schemeClr>
              </a:solidFill>
            </a:endParaRPr>
          </a:p>
        </p:txBody>
      </p:sp>
      <p:sp>
        <p:nvSpPr>
          <p:cNvPr id="13" name="TextBox 12"/>
          <p:cNvSpPr txBox="1"/>
          <p:nvPr/>
        </p:nvSpPr>
        <p:spPr>
          <a:xfrm>
            <a:off x="3375016" y="715066"/>
            <a:ext cx="5441968" cy="492443"/>
          </a:xfrm>
          <a:prstGeom prst="rect">
            <a:avLst/>
          </a:prstGeom>
          <a:noFill/>
          <a:ln w="6350">
            <a:noFill/>
            <a:prstDash val="dash"/>
          </a:ln>
        </p:spPr>
        <p:txBody>
          <a:bodyPr wrap="square" lIns="0" tIns="0" rIns="0" bIns="0" rtlCol="0">
            <a:spAutoFit/>
          </a:bodyPr>
          <a:lstStyle/>
          <a:p>
            <a:pPr algn="ctr"/>
            <a:r>
              <a:rPr lang="en-US" sz="3200" b="1" dirty="0">
                <a:solidFill>
                  <a:schemeClr val="tx1">
                    <a:lumMod val="95000"/>
                    <a:lumOff val="5000"/>
                  </a:schemeClr>
                </a:solidFill>
              </a:rPr>
              <a:t>INDUSTRIES WE SERVE</a:t>
            </a:r>
            <a:endParaRPr lang="en-US" sz="3200" dirty="0">
              <a:solidFill>
                <a:schemeClr val="tx1">
                  <a:lumMod val="95000"/>
                  <a:lumOff val="5000"/>
                </a:schemeClr>
              </a:solidFill>
            </a:endParaRPr>
          </a:p>
        </p:txBody>
      </p:sp>
      <p:graphicFrame>
        <p:nvGraphicFramePr>
          <p:cNvPr id="129" name="Chart 128">
            <a:extLst>
              <a:ext uri="{FF2B5EF4-FFF2-40B4-BE49-F238E27FC236}">
                <a16:creationId xmlns:a16="http://schemas.microsoft.com/office/drawing/2014/main" id="{CA1C738B-5270-4406-BF1A-77B1C9552B9E}"/>
              </a:ext>
            </a:extLst>
          </p:cNvPr>
          <p:cNvGraphicFramePr>
            <a:graphicFrameLocks/>
          </p:cNvGraphicFramePr>
          <p:nvPr>
            <p:extLst>
              <p:ext uri="{D42A27DB-BD31-4B8C-83A1-F6EECF244321}">
                <p14:modId xmlns:p14="http://schemas.microsoft.com/office/powerpoint/2010/main" val="3906700511"/>
              </p:ext>
            </p:extLst>
          </p:nvPr>
        </p:nvGraphicFramePr>
        <p:xfrm>
          <a:off x="2791905" y="2517563"/>
          <a:ext cx="6608190" cy="35444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359654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c1205cc3562e78b831e9e7d1ec1cae63508741c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company profile">
  <a:themeElements>
    <a:clrScheme name="Custom 38">
      <a:dk1>
        <a:sysClr val="windowText" lastClr="000000"/>
      </a:dk1>
      <a:lt1>
        <a:sysClr val="window" lastClr="FFFFFF"/>
      </a:lt1>
      <a:dk2>
        <a:srgbClr val="CA1842"/>
      </a:dk2>
      <a:lt2>
        <a:srgbClr val="FC671C"/>
      </a:lt2>
      <a:accent1>
        <a:srgbClr val="FE3C00"/>
      </a:accent1>
      <a:accent2>
        <a:srgbClr val="ED7D31"/>
      </a:accent2>
      <a:accent3>
        <a:srgbClr val="FF5800"/>
      </a:accent3>
      <a:accent4>
        <a:srgbClr val="FFC000"/>
      </a:accent4>
      <a:accent5>
        <a:srgbClr val="4472C4"/>
      </a:accent5>
      <a:accent6>
        <a:srgbClr val="70AD47"/>
      </a:accent6>
      <a:hlink>
        <a:srgbClr val="0563C1"/>
      </a:hlink>
      <a:folHlink>
        <a:srgbClr val="954F72"/>
      </a:folHlink>
    </a:clrScheme>
    <a:fontScheme name="Custom 12">
      <a:majorFont>
        <a:latin typeface="Trebuchet MS"/>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any profile" id="{FD30D887-4983-427A-B46E-064276C3F381}" vid="{B8932AA6-FF7A-40BB-B453-0604B1B728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mpany profile</Template>
  <TotalTime>7476</TotalTime>
  <Words>904</Words>
  <Application>Microsoft Office PowerPoint</Application>
  <PresentationFormat>Widescreen</PresentationFormat>
  <Paragraphs>158</Paragraphs>
  <Slides>14</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4</vt:i4>
      </vt:variant>
    </vt:vector>
  </HeadingPairs>
  <TitlesOfParts>
    <vt:vector size="19" baseType="lpstr">
      <vt:lpstr>Arial</vt:lpstr>
      <vt:lpstr>Calibri</vt:lpstr>
      <vt:lpstr>Segoe UI</vt:lpstr>
      <vt:lpstr>Trebuchet MS</vt:lpstr>
      <vt:lpstr>company prof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erda Usiyah</dc:creator>
  <cp:lastModifiedBy>Sahil Sahni</cp:lastModifiedBy>
  <cp:revision>141</cp:revision>
  <cp:lastPrinted>2021-06-09T07:22:59Z</cp:lastPrinted>
  <dcterms:created xsi:type="dcterms:W3CDTF">2016-11-15T07:58:49Z</dcterms:created>
  <dcterms:modified xsi:type="dcterms:W3CDTF">2022-06-27T06:40:03Z</dcterms:modified>
</cp:coreProperties>
</file>